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19"/>
  </p:notesMasterIdLst>
  <p:sldIdLst>
    <p:sldId id="312" r:id="rId2"/>
    <p:sldId id="257" r:id="rId3"/>
    <p:sldId id="260" r:id="rId4"/>
    <p:sldId id="261" r:id="rId5"/>
    <p:sldId id="310" r:id="rId6"/>
    <p:sldId id="275" r:id="rId7"/>
    <p:sldId id="279" r:id="rId8"/>
    <p:sldId id="284" r:id="rId9"/>
    <p:sldId id="294" r:id="rId10"/>
    <p:sldId id="296" r:id="rId11"/>
    <p:sldId id="297" r:id="rId12"/>
    <p:sldId id="298" r:id="rId13"/>
    <p:sldId id="299" r:id="rId14"/>
    <p:sldId id="303" r:id="rId15"/>
    <p:sldId id="314" r:id="rId16"/>
    <p:sldId id="318" r:id="rId17"/>
    <p:sldId id="306" r:id="rId18"/>
  </p:sldIdLst>
  <p:sldSz cx="9144000" cy="6858000" type="screen4x3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341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36A2"/>
    <a:srgbClr val="FF0000"/>
    <a:srgbClr val="7030A0"/>
    <a:srgbClr val="5B9BD5"/>
    <a:srgbClr val="002D86"/>
    <a:srgbClr val="9DC3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525" autoAdjust="0"/>
    <p:restoredTop sz="78753" autoAdjust="0"/>
  </p:normalViewPr>
  <p:slideViewPr>
    <p:cSldViewPr snapToGrid="0" showGuides="1">
      <p:cViewPr>
        <p:scale>
          <a:sx n="96" d="100"/>
          <a:sy n="96" d="100"/>
        </p:scale>
        <p:origin x="-786" y="-30"/>
      </p:cViewPr>
      <p:guideLst>
        <p:guide orient="horz" pos="2341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45000" cy="45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1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E54250-1E89-4408-BB4B-F0173413E24F}" type="datetimeFigureOut">
              <a:rPr lang="en-US" smtClean="0"/>
              <a:pPr/>
              <a:t>11/30/2018</a:t>
            </a:fld>
            <a:endParaRPr lang="en-US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41425"/>
            <a:ext cx="44672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77612"/>
            <a:ext cx="5438775" cy="3907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243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8243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A78B27-16DD-49E5-8AA8-D76665DD76F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39799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2E136A-F765-4A17-92D3-17CA25BDE9ED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89696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A78B27-16DD-49E5-8AA8-D76665DD76F1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09588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То есть,</a:t>
            </a:r>
            <a:r>
              <a:rPr lang="ru-RU" baseline="0" dirty="0" smtClean="0"/>
              <a:t> если покупатель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A78B27-16DD-49E5-8AA8-D76665DD76F1}" type="slidenum">
              <a:rPr lang="en-US" smtClean="0"/>
              <a:pPr/>
              <a:t>4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То есть,</a:t>
            </a:r>
            <a:r>
              <a:rPr lang="ru-RU" baseline="0" dirty="0" smtClean="0"/>
              <a:t> если покупатель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A78B27-16DD-49E5-8AA8-D76665DD76F1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76279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A78B27-16DD-49E5-8AA8-D76665DD76F1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43142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67574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640F52CE-B24A-4C0A-B48F-3DC51A541F5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839133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640F52CE-B24A-4C0A-B48F-3DC51A541F5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003086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59107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640F52CE-B24A-4C0A-B48F-3DC51A541F5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716616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59607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CDB9008C-BB59-4A3C-9DA0-19BD1678018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707010"/>
          </a:xfrm>
          <a:prstGeom prst="rect">
            <a:avLst/>
          </a:prstGeom>
          <a:solidFill>
            <a:schemeClr val="bg2">
              <a:lumMod val="2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4127" y="160256"/>
            <a:ext cx="6997634" cy="364191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5888" y="94985"/>
            <a:ext cx="1071119" cy="429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39163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56277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84508" y="6390219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fld id="{640F52CE-B24A-4C0A-B48F-3DC51A541F5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760309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76041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640F52CE-B24A-4C0A-B48F-3DC51A541F5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361805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067574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640F52CE-B24A-4C0A-B48F-3DC51A541F5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418899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076041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640F52CE-B24A-4C0A-B48F-3DC51A541F5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721527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067574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640F52CE-B24A-4C0A-B48F-3DC51A541F5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497931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067574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640F52CE-B24A-4C0A-B48F-3DC51A541F5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54014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640F52CE-B24A-4C0A-B48F-3DC51A541F5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468816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640F52CE-B24A-4C0A-B48F-3DC51A541F5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957636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4508" y="6390219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b="1"/>
            </a:lvl1pPr>
          </a:lstStyle>
          <a:p>
            <a:fld id="{640F52CE-B24A-4C0A-B48F-3DC51A541F5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385989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microsoft.com/office/2007/relationships/hdphoto" Target="../media/hdphoto2.wdp"/><Relationship Id="rId5" Type="http://schemas.openxmlformats.org/officeDocument/2006/relationships/image" Target="../media/image4.png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2.png"/></Relationships>
</file>

<file path=ppt/slides/_rels/slide15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user\Downloads\i.jpg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16667"/>
          <a:stretch/>
        </p:blipFill>
        <p:spPr bwMode="auto">
          <a:xfrm>
            <a:off x="-66262" y="-99392"/>
            <a:ext cx="9276523" cy="6957392"/>
          </a:xfrm>
          <a:prstGeom prst="rect">
            <a:avLst/>
          </a:prstGeom>
          <a:noFill/>
          <a:ln w="22225">
            <a:solidFill>
              <a:schemeClr val="bg1"/>
            </a:solidFill>
          </a:ln>
          <a:effectLst>
            <a:outerShdw blurRad="165100" dist="215900" dir="9000000" sx="91000" sy="91000" algn="ctr" rotWithShape="0">
              <a:srgbClr val="000000">
                <a:alpha val="81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с двумя скругленными противолежащими углами 1"/>
          <p:cNvSpPr/>
          <p:nvPr/>
        </p:nvSpPr>
        <p:spPr>
          <a:xfrm>
            <a:off x="899592" y="1755978"/>
            <a:ext cx="7416824" cy="2132452"/>
          </a:xfrm>
          <a:prstGeom prst="round2DiagRect">
            <a:avLst/>
          </a:prstGeom>
          <a:solidFill>
            <a:schemeClr val="lt1">
              <a:alpha val="63000"/>
            </a:schemeClr>
          </a:solidFill>
          <a:ln w="73025" cmpd="dbl">
            <a:solidFill>
              <a:srgbClr val="318FCF"/>
            </a:solidFill>
          </a:ln>
          <a:effectLst>
            <a:glow rad="889000">
              <a:schemeClr val="bg1">
                <a:alpha val="82000"/>
              </a:schemeClr>
            </a:glow>
            <a:softEdge rad="0"/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50" name="Заголовок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ru-R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</a:rPr>
              <a:t/>
            </a:r>
            <a:br>
              <a:rPr lang="ru-R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</a:rPr>
            </a:br>
            <a:r>
              <a:rPr lang="ru-RU" sz="49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228600" stA="97000" endPos="55000" dir="5400000" sy="-100000" algn="bl" rotWithShape="0"/>
                </a:effectLst>
                <a:latin typeface="Palatino Linotype" pitchFamily="18" charset="0"/>
              </a:rPr>
              <a:t>КОНТРОЛЬНЫЙ СЧЕТ НДС</a:t>
            </a:r>
            <a:endParaRPr lang="ru-RU" b="1" dirty="0" smtClean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  <a:reflection blurRad="228600" stA="97000" endPos="55000" dir="5400000" sy="-100000" algn="bl" rotWithShape="0"/>
              </a:effectLst>
              <a:latin typeface="Palatino Linotype" pitchFamily="18" charset="0"/>
            </a:endParaRPr>
          </a:p>
        </p:txBody>
      </p:sp>
      <p:sp>
        <p:nvSpPr>
          <p:cNvPr id="3" name="Половина рамки 2"/>
          <p:cNvSpPr/>
          <p:nvPr/>
        </p:nvSpPr>
        <p:spPr>
          <a:xfrm rot="5400000">
            <a:off x="7956376" y="2132856"/>
            <a:ext cx="432048" cy="432048"/>
          </a:xfrm>
          <a:prstGeom prst="halfFrame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1115616" y="5210036"/>
            <a:ext cx="4752528" cy="0"/>
          </a:xfrm>
          <a:prstGeom prst="line">
            <a:avLst/>
          </a:prstGeom>
          <a:ln w="222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Половина рамки 5"/>
          <p:cNvSpPr/>
          <p:nvPr/>
        </p:nvSpPr>
        <p:spPr>
          <a:xfrm flipV="1">
            <a:off x="827584" y="3861048"/>
            <a:ext cx="432048" cy="432048"/>
          </a:xfrm>
          <a:prstGeom prst="halfFrame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>
            <a:off x="1043608" y="5805264"/>
            <a:ext cx="4824536" cy="0"/>
          </a:xfrm>
          <a:prstGeom prst="line">
            <a:avLst/>
          </a:prstGeom>
          <a:ln w="222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0" name="Picture 6" descr="C:\Users\user\Downloads\20b977f55a06df8734c27777c6d5ef1f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2222" b="98519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2054" y="4951908"/>
            <a:ext cx="2139276" cy="10693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1403648" y="5229200"/>
            <a:ext cx="50405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МИТЕТ ГОСУДАРСТВЕННЫХ ДОХОДОВ </a:t>
            </a:r>
          </a:p>
          <a:p>
            <a:r>
              <a:rPr lang="ru-RU" sz="1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МИНИСТЕРСТВО ФИНАНСОВ РЕСПУБЛИКИ КАЗАХСТАН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5868144" y="5210036"/>
            <a:ext cx="0" cy="595228"/>
          </a:xfrm>
          <a:prstGeom prst="line">
            <a:avLst/>
          </a:prstGeom>
          <a:ln w="222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>
            <a:stCxn id="39" idx="1"/>
          </p:cNvCxnSpPr>
          <p:nvPr/>
        </p:nvCxnSpPr>
        <p:spPr>
          <a:xfrm>
            <a:off x="2843809" y="1628800"/>
            <a:ext cx="6324194" cy="0"/>
          </a:xfrm>
          <a:prstGeom prst="line">
            <a:avLst/>
          </a:prstGeom>
          <a:ln w="69850">
            <a:solidFill>
              <a:srgbClr val="318FCF"/>
            </a:solidFill>
          </a:ln>
          <a:effectLst>
            <a:outerShdw blurRad="165100" dist="215900" dir="9000000" sx="91000" sy="91000" algn="ctr" rotWithShape="0">
              <a:srgbClr val="000000">
                <a:alpha val="81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Левая круглая скобка 38"/>
          <p:cNvSpPr/>
          <p:nvPr/>
        </p:nvSpPr>
        <p:spPr>
          <a:xfrm rot="10800000">
            <a:off x="2627784" y="1412776"/>
            <a:ext cx="216025" cy="432049"/>
          </a:xfrm>
          <a:prstGeom prst="leftBracket">
            <a:avLst/>
          </a:prstGeom>
          <a:ln w="98425">
            <a:solidFill>
              <a:srgbClr val="318FCF"/>
            </a:solidFill>
          </a:ln>
          <a:effectLst>
            <a:outerShdw blurRad="165100" dist="215900" dir="9000000" sx="91000" sy="91000" algn="ctr" rotWithShape="0">
              <a:srgbClr val="000000">
                <a:alpha val="81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Овал 22"/>
          <p:cNvSpPr/>
          <p:nvPr/>
        </p:nvSpPr>
        <p:spPr>
          <a:xfrm rot="16200000">
            <a:off x="2411760" y="1520791"/>
            <a:ext cx="216024" cy="216024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>
              <a:schemeClr val="tx2">
                <a:lumMod val="60000"/>
                <a:lumOff val="40000"/>
              </a:schemeClr>
            </a:glow>
            <a:outerShdw blurRad="165100" dist="215900" dir="9000000" sx="91000" sy="91000" algn="ctr" rotWithShape="0">
              <a:srgbClr val="000000">
                <a:alpha val="81000"/>
              </a:srgbClr>
            </a:outerShdw>
            <a:softEdge rad="0"/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4" name="Левая круглая скобка 23"/>
          <p:cNvSpPr/>
          <p:nvPr/>
        </p:nvSpPr>
        <p:spPr>
          <a:xfrm>
            <a:off x="2189480" y="1412777"/>
            <a:ext cx="216025" cy="432049"/>
          </a:xfrm>
          <a:prstGeom prst="leftBracket">
            <a:avLst/>
          </a:prstGeom>
          <a:ln w="98425">
            <a:solidFill>
              <a:srgbClr val="FF0000"/>
            </a:solidFill>
          </a:ln>
          <a:effectLst>
            <a:outerShdw blurRad="165100" dist="215900" dir="9000000" sx="91000" sy="91000" algn="ctr" rotWithShape="0">
              <a:srgbClr val="000000">
                <a:alpha val="81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45" name="Прямая соединительная линия 44"/>
          <p:cNvCxnSpPr>
            <a:stCxn id="46" idx="1"/>
          </p:cNvCxnSpPr>
          <p:nvPr/>
        </p:nvCxnSpPr>
        <p:spPr>
          <a:xfrm>
            <a:off x="7176798" y="4725142"/>
            <a:ext cx="1991205" cy="0"/>
          </a:xfrm>
          <a:prstGeom prst="line">
            <a:avLst/>
          </a:prstGeom>
          <a:ln w="69850">
            <a:solidFill>
              <a:srgbClr val="318FCF"/>
            </a:solidFill>
          </a:ln>
          <a:effectLst>
            <a:outerShdw blurRad="165100" dist="215900" dir="9000000" sx="91000" sy="91000" algn="ctr" rotWithShape="0">
              <a:srgbClr val="000000">
                <a:alpha val="81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/>
          <p:nvPr/>
        </p:nvCxnSpPr>
        <p:spPr>
          <a:xfrm flipH="1" flipV="1">
            <a:off x="-108520" y="1628800"/>
            <a:ext cx="2298002" cy="4"/>
          </a:xfrm>
          <a:prstGeom prst="line">
            <a:avLst/>
          </a:prstGeom>
          <a:ln w="69850">
            <a:solidFill>
              <a:srgbClr val="FF0000"/>
            </a:solidFill>
          </a:ln>
          <a:effectLst>
            <a:outerShdw blurRad="165100" dist="215900" dir="9000000" sx="91000" sy="91000" algn="ctr" rotWithShape="0">
              <a:srgbClr val="000000">
                <a:alpha val="81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Левая круглая скобка 45"/>
          <p:cNvSpPr/>
          <p:nvPr/>
        </p:nvSpPr>
        <p:spPr>
          <a:xfrm rot="10800000">
            <a:off x="6960773" y="4509118"/>
            <a:ext cx="216025" cy="432049"/>
          </a:xfrm>
          <a:prstGeom prst="leftBracket">
            <a:avLst/>
          </a:prstGeom>
          <a:ln w="98425">
            <a:solidFill>
              <a:srgbClr val="318FCF"/>
            </a:solidFill>
          </a:ln>
          <a:effectLst>
            <a:outerShdw blurRad="165100" dist="215900" dir="9000000" sx="91000" sy="91000" algn="ctr" rotWithShape="0">
              <a:srgbClr val="000000">
                <a:alpha val="81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Овал 47"/>
          <p:cNvSpPr/>
          <p:nvPr/>
        </p:nvSpPr>
        <p:spPr>
          <a:xfrm rot="16200000">
            <a:off x="6744749" y="4617133"/>
            <a:ext cx="216024" cy="216024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glow>
              <a:schemeClr val="tx2">
                <a:lumMod val="60000"/>
                <a:lumOff val="40000"/>
              </a:schemeClr>
            </a:glow>
            <a:outerShdw blurRad="165100" dist="215900" dir="9000000" sx="91000" sy="91000" algn="ctr" rotWithShape="0">
              <a:srgbClr val="000000">
                <a:alpha val="81000"/>
              </a:srgbClr>
            </a:outerShdw>
            <a:softEdge rad="0"/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9" name="Левая круглая скобка 48"/>
          <p:cNvSpPr/>
          <p:nvPr/>
        </p:nvSpPr>
        <p:spPr>
          <a:xfrm>
            <a:off x="6522469" y="4509119"/>
            <a:ext cx="216025" cy="432049"/>
          </a:xfrm>
          <a:prstGeom prst="leftBracket">
            <a:avLst/>
          </a:prstGeom>
          <a:ln w="98425">
            <a:solidFill>
              <a:srgbClr val="FF0000"/>
            </a:solidFill>
          </a:ln>
          <a:effectLst>
            <a:outerShdw blurRad="165100" dist="215900" dir="9000000" sx="91000" sy="91000" algn="ctr" rotWithShape="0">
              <a:srgbClr val="000000">
                <a:alpha val="81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47" name="Прямая соединительная линия 46"/>
          <p:cNvCxnSpPr/>
          <p:nvPr/>
        </p:nvCxnSpPr>
        <p:spPr>
          <a:xfrm flipH="1" flipV="1">
            <a:off x="-108520" y="4725142"/>
            <a:ext cx="6630992" cy="4"/>
          </a:xfrm>
          <a:prstGeom prst="line">
            <a:avLst/>
          </a:prstGeom>
          <a:ln w="69850">
            <a:solidFill>
              <a:srgbClr val="FF0000"/>
            </a:solidFill>
          </a:ln>
          <a:effectLst>
            <a:outerShdw blurRad="165100" dist="215900" dir="9000000" sx="91000" sy="91000" algn="ctr" rotWithShape="0">
              <a:srgbClr val="000000">
                <a:alpha val="81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53199" y="6356350"/>
            <a:ext cx="2614803" cy="365125"/>
          </a:xfrm>
        </p:spPr>
        <p:txBody>
          <a:bodyPr/>
          <a:lstStyle/>
          <a:p>
            <a:fld id="{475124D0-E098-4E81-9395-C7688EF7B566}" type="slidenum">
              <a:rPr lang="ru-RU" smtClean="0">
                <a:solidFill>
                  <a:schemeClr val="tx1"/>
                </a:solidFill>
              </a:rPr>
              <a:t>1</a:t>
            </a:fld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9013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10</a:t>
            </a:fld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0" y="1122363"/>
            <a:ext cx="8220075" cy="635000"/>
          </a:xfrm>
        </p:spPr>
        <p:txBody>
          <a:bodyPr>
            <a:noAutofit/>
          </a:bodyPr>
          <a:lstStyle/>
          <a:p>
            <a:r>
              <a:rPr lang="ru-RU" sz="2800" dirty="0" smtClean="0"/>
              <a:t>Приложение 300.10 к декларации по НДС</a:t>
            </a:r>
            <a:endParaRPr lang="ru-RU" sz="2800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196752"/>
            <a:ext cx="8568952" cy="48287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286439" y="3174019"/>
            <a:ext cx="8659258" cy="1080120"/>
          </a:xfrm>
          <a:prstGeom prst="rect">
            <a:avLst/>
          </a:prstGeom>
          <a:noFill/>
          <a:ln w="635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10899" y="2551"/>
            <a:ext cx="9122083" cy="922866"/>
          </a:xfrm>
          <a:prstGeom prst="rect">
            <a:avLst/>
          </a:prstGeom>
          <a:gradFill flip="none" rotWithShape="1">
            <a:gsLst>
              <a:gs pos="0">
                <a:srgbClr val="002060"/>
              </a:gs>
              <a:gs pos="100000">
                <a:srgbClr val="0036A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2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ПРИЛОЖЕНИЕ 300.10 К ДЕКЛАРАЦИИ ПО НДС</a:t>
            </a:r>
            <a:endParaRPr lang="ru-RU" sz="22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9956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11</a:t>
            </a:fld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-11134" y="2551"/>
            <a:ext cx="9066998" cy="922866"/>
          </a:xfrm>
          <a:prstGeom prst="rect">
            <a:avLst/>
          </a:prstGeom>
          <a:gradFill flip="none" rotWithShape="1">
            <a:gsLst>
              <a:gs pos="0">
                <a:srgbClr val="002060"/>
              </a:gs>
              <a:gs pos="100000">
                <a:srgbClr val="0036A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2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ПРИЛОЖЕНИЕ 300.10 К ДЕКЛАРАЦИИ ПО НДС</a:t>
            </a:r>
            <a:endParaRPr lang="ru-RU" sz="22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12" name="Группа 11"/>
          <p:cNvGrpSpPr/>
          <p:nvPr/>
        </p:nvGrpSpPr>
        <p:grpSpPr>
          <a:xfrm>
            <a:off x="1425398" y="1106266"/>
            <a:ext cx="6286407" cy="5707666"/>
            <a:chOff x="1601670" y="1150334"/>
            <a:chExt cx="6286407" cy="5707666"/>
          </a:xfrm>
        </p:grpSpPr>
        <p:pic>
          <p:nvPicPr>
            <p:cNvPr id="3074" name="Picture 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45159" y="1150334"/>
              <a:ext cx="6202858" cy="56828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9" name="Прямоугольник 8"/>
            <p:cNvSpPr/>
            <p:nvPr/>
          </p:nvSpPr>
          <p:spPr>
            <a:xfrm>
              <a:off x="1601670" y="2863919"/>
              <a:ext cx="6286407" cy="1564862"/>
            </a:xfrm>
            <a:prstGeom prst="rect">
              <a:avLst/>
            </a:prstGeom>
            <a:noFill/>
            <a:ln w="635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Прямоугольник 10"/>
            <p:cNvSpPr/>
            <p:nvPr/>
          </p:nvSpPr>
          <p:spPr>
            <a:xfrm>
              <a:off x="1601670" y="5739788"/>
              <a:ext cx="6286407" cy="1118212"/>
            </a:xfrm>
            <a:prstGeom prst="rect">
              <a:avLst/>
            </a:prstGeom>
            <a:noFill/>
            <a:ln w="635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299154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Группа 9"/>
          <p:cNvGrpSpPr/>
          <p:nvPr/>
        </p:nvGrpSpPr>
        <p:grpSpPr>
          <a:xfrm>
            <a:off x="1452365" y="1057004"/>
            <a:ext cx="6226397" cy="5627143"/>
            <a:chOff x="1408297" y="1045987"/>
            <a:chExt cx="6226397" cy="5627143"/>
          </a:xfrm>
        </p:grpSpPr>
        <p:pic>
          <p:nvPicPr>
            <p:cNvPr id="4098" name="Picture 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08297" y="1045987"/>
              <a:ext cx="6178096" cy="56271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6" name="Прямоугольник 5"/>
            <p:cNvSpPr/>
            <p:nvPr/>
          </p:nvSpPr>
          <p:spPr>
            <a:xfrm>
              <a:off x="1454231" y="1916037"/>
              <a:ext cx="6180463" cy="792088"/>
            </a:xfrm>
            <a:prstGeom prst="rect">
              <a:avLst/>
            </a:prstGeom>
            <a:noFill/>
            <a:ln w="635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1454231" y="4869312"/>
              <a:ext cx="6180463" cy="792088"/>
            </a:xfrm>
            <a:prstGeom prst="rect">
              <a:avLst/>
            </a:prstGeom>
            <a:noFill/>
            <a:ln w="635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9" name="Прямоугольник 8"/>
          <p:cNvSpPr/>
          <p:nvPr/>
        </p:nvSpPr>
        <p:spPr>
          <a:xfrm>
            <a:off x="-11134" y="2551"/>
            <a:ext cx="9155134" cy="922866"/>
          </a:xfrm>
          <a:prstGeom prst="rect">
            <a:avLst/>
          </a:prstGeom>
          <a:gradFill flip="none" rotWithShape="1">
            <a:gsLst>
              <a:gs pos="0">
                <a:srgbClr val="002060"/>
              </a:gs>
              <a:gs pos="100000">
                <a:srgbClr val="0036A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2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ПРИЛОЖЕНИЕ 300.10 К ДЕКЛАРАЦИИ ПО НДС</a:t>
            </a:r>
            <a:endParaRPr lang="ru-RU" sz="22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4" name="Номер слайда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0F52CE-B24A-4C0A-B48F-3DC51A541F50}" type="slidenum">
              <a:rPr lang="ru-RU" smtClean="0"/>
              <a:pPr/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26376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Группа 9"/>
          <p:cNvGrpSpPr/>
          <p:nvPr/>
        </p:nvGrpSpPr>
        <p:grpSpPr>
          <a:xfrm>
            <a:off x="1441347" y="1195078"/>
            <a:ext cx="6229643" cy="5651905"/>
            <a:chOff x="978633" y="1206095"/>
            <a:chExt cx="6229643" cy="5651905"/>
          </a:xfrm>
        </p:grpSpPr>
        <p:pic>
          <p:nvPicPr>
            <p:cNvPr id="5122" name="Picture 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8633" y="1206095"/>
              <a:ext cx="6209048" cy="56519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6" name="Прямоугольник 5"/>
            <p:cNvSpPr/>
            <p:nvPr/>
          </p:nvSpPr>
          <p:spPr>
            <a:xfrm>
              <a:off x="980501" y="1986455"/>
              <a:ext cx="6224530" cy="720080"/>
            </a:xfrm>
            <a:prstGeom prst="rect">
              <a:avLst/>
            </a:prstGeom>
            <a:noFill/>
            <a:ln w="635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" name="Прямоугольник 7"/>
            <p:cNvSpPr/>
            <p:nvPr/>
          </p:nvSpPr>
          <p:spPr>
            <a:xfrm>
              <a:off x="983746" y="5125291"/>
              <a:ext cx="6224530" cy="757715"/>
            </a:xfrm>
            <a:prstGeom prst="rect">
              <a:avLst/>
            </a:prstGeom>
            <a:noFill/>
            <a:ln w="635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9" name="Прямоугольник 8"/>
          <p:cNvSpPr/>
          <p:nvPr/>
        </p:nvSpPr>
        <p:spPr>
          <a:xfrm>
            <a:off x="0" y="0"/>
            <a:ext cx="9143999" cy="922866"/>
          </a:xfrm>
          <a:prstGeom prst="rect">
            <a:avLst/>
          </a:prstGeom>
          <a:gradFill flip="none" rotWithShape="1">
            <a:gsLst>
              <a:gs pos="0">
                <a:srgbClr val="002060"/>
              </a:gs>
              <a:gs pos="100000">
                <a:srgbClr val="0036A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2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ПРИЛОЖЕНИЕ 300.10 К ДЕКЛАРАЦИИ ПО НДС</a:t>
            </a:r>
            <a:endParaRPr lang="ru-RU" sz="22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3" name="Номер слайда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0F52CE-B24A-4C0A-B48F-3DC51A541F50}" type="slidenum">
              <a:rPr lang="ru-RU" smtClean="0"/>
              <a:pPr/>
              <a:t>1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09518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55"/>
          <p:cNvPicPr>
            <a:picLocks noChangeAspect="1"/>
          </p:cNvPicPr>
          <p:nvPr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5496" y="332656"/>
            <a:ext cx="9108504" cy="6527879"/>
          </a:xfrm>
          <a:prstGeom prst="rect">
            <a:avLst/>
          </a:prstGeom>
        </p:spPr>
      </p:pic>
      <p:sp>
        <p:nvSpPr>
          <p:cNvPr id="34" name="Заголовок 1"/>
          <p:cNvSpPr txBox="1">
            <a:spLocks/>
          </p:cNvSpPr>
          <p:nvPr/>
        </p:nvSpPr>
        <p:spPr>
          <a:xfrm>
            <a:off x="258896" y="1158921"/>
            <a:ext cx="8229600" cy="936104"/>
          </a:xfrm>
          <a:prstGeom prst="rect">
            <a:avLst/>
          </a:prstGeom>
        </p:spPr>
        <p:txBody>
          <a:bodyPr>
            <a:normAutofit fontScale="250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ru-RU" sz="11200" b="1" dirty="0"/>
              <a:t>Особенности проведения проверки </a:t>
            </a:r>
            <a:br>
              <a:rPr lang="ru-RU" sz="11200" b="1" dirty="0"/>
            </a:br>
            <a:r>
              <a:rPr lang="ru-RU" sz="11200" b="1" dirty="0"/>
              <a:t>по возврату НДС  у  налогоплательщиков, применяющих  контрольный счет </a:t>
            </a:r>
            <a:r>
              <a:rPr lang="ru-RU" sz="11200" b="1" dirty="0" smtClean="0"/>
              <a:t>НДС</a:t>
            </a:r>
          </a:p>
          <a:p>
            <a:pPr>
              <a:lnSpc>
                <a:spcPct val="90000"/>
              </a:lnSpc>
            </a:pPr>
            <a:endParaRPr lang="ru-RU" b="1" dirty="0">
              <a:latin typeface="+mn-lt"/>
            </a:endParaRPr>
          </a:p>
          <a:p>
            <a:pPr>
              <a:lnSpc>
                <a:spcPct val="90000"/>
              </a:lnSpc>
            </a:pPr>
            <a:endParaRPr lang="ru-RU" b="1" dirty="0" smtClean="0">
              <a:latin typeface="+mn-lt"/>
            </a:endParaRPr>
          </a:p>
          <a:p>
            <a:pPr>
              <a:lnSpc>
                <a:spcPct val="90000"/>
              </a:lnSpc>
            </a:pPr>
            <a:endParaRPr lang="ru-RU" dirty="0">
              <a:latin typeface="+mn-lt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528481" y="2572376"/>
            <a:ext cx="7272806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3188" indent="-14288">
              <a:buNone/>
            </a:pPr>
            <a:r>
              <a:rPr lang="ru-RU" sz="2400" dirty="0"/>
              <a:t>Проводится проверка движения денег по контрольным счетам НДС и уплаты НДС </a:t>
            </a:r>
            <a:r>
              <a:rPr lang="ru-RU" sz="2400" b="1" dirty="0"/>
              <a:t>по всей цепочке поставки товара</a:t>
            </a:r>
          </a:p>
          <a:p>
            <a:pPr marL="103188" indent="354013">
              <a:buNone/>
            </a:pPr>
            <a:endParaRPr lang="ru-RU" sz="2400" dirty="0" smtClean="0"/>
          </a:p>
          <a:p>
            <a:pPr marL="103188" indent="354013">
              <a:buNone/>
            </a:pPr>
            <a:endParaRPr lang="en-US" sz="2400" dirty="0" smtClean="0"/>
          </a:p>
          <a:p>
            <a:pPr marL="103188" indent="-14288">
              <a:buNone/>
            </a:pPr>
            <a:r>
              <a:rPr lang="ru-RU" sz="2400" dirty="0" smtClean="0"/>
              <a:t>Проводится </a:t>
            </a:r>
            <a:r>
              <a:rPr lang="ru-RU" sz="2400" dirty="0"/>
              <a:t>сверка между данными </a:t>
            </a:r>
            <a:r>
              <a:rPr lang="ru-RU" sz="2400" b="1" dirty="0"/>
              <a:t>ЭСФ</a:t>
            </a:r>
            <a:r>
              <a:rPr lang="ru-RU" sz="2400" dirty="0"/>
              <a:t>, </a:t>
            </a:r>
            <a:r>
              <a:rPr lang="ru-RU" sz="2400" b="1" dirty="0"/>
              <a:t>контрольных счетов НДС</a:t>
            </a:r>
            <a:r>
              <a:rPr lang="ru-RU" sz="2400" dirty="0"/>
              <a:t>, декларации по НДС и лицевых счетов </a:t>
            </a:r>
          </a:p>
          <a:p>
            <a:pPr marL="103188" indent="354013">
              <a:buNone/>
            </a:pPr>
            <a:endParaRPr lang="ru-RU" sz="2000" dirty="0"/>
          </a:p>
          <a:p>
            <a:pPr marL="103188" indent="354013">
              <a:spcBef>
                <a:spcPts val="0"/>
              </a:spcBef>
              <a:buNone/>
            </a:pPr>
            <a:endParaRPr lang="en-US" sz="2000" b="1" dirty="0" smtClean="0">
              <a:solidFill>
                <a:srgbClr val="002060"/>
              </a:solidFill>
            </a:endParaRPr>
          </a:p>
          <a:p>
            <a:pPr marL="103188" indent="354013">
              <a:spcBef>
                <a:spcPts val="0"/>
              </a:spcBef>
              <a:buNone/>
            </a:pPr>
            <a:endParaRPr lang="en-US" sz="2000" b="1" dirty="0">
              <a:solidFill>
                <a:srgbClr val="002060"/>
              </a:solidFill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625411" y="2750789"/>
            <a:ext cx="903070" cy="903070"/>
            <a:chOff x="831507" y="1681321"/>
            <a:chExt cx="576064" cy="576064"/>
          </a:xfrm>
        </p:grpSpPr>
        <p:sp>
          <p:nvSpPr>
            <p:cNvPr id="14" name="Овал 13"/>
            <p:cNvSpPr/>
            <p:nvPr/>
          </p:nvSpPr>
          <p:spPr>
            <a:xfrm>
              <a:off x="831507" y="1681321"/>
              <a:ext cx="576064" cy="576064"/>
            </a:xfrm>
            <a:prstGeom prst="ellipse">
              <a:avLst/>
            </a:prstGeom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3" name="Picture 4" descr="C:\Users\user\Downloads\coins.png"/>
            <p:cNvPicPr>
              <a:picLocks noChangeAspect="1" noChangeArrowheads="1"/>
            </p:cNvPicPr>
            <p:nvPr/>
          </p:nvPicPr>
          <p:blipFill>
            <a:blip r:embed="rId3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2206" y="1789505"/>
              <a:ext cx="361404" cy="3614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" name="Группа 5"/>
          <p:cNvGrpSpPr/>
          <p:nvPr/>
        </p:nvGrpSpPr>
        <p:grpSpPr>
          <a:xfrm>
            <a:off x="691241" y="4557535"/>
            <a:ext cx="910916" cy="910916"/>
            <a:chOff x="827584" y="2564904"/>
            <a:chExt cx="576064" cy="576064"/>
          </a:xfrm>
        </p:grpSpPr>
        <p:sp>
          <p:nvSpPr>
            <p:cNvPr id="4" name="Овал 3"/>
            <p:cNvSpPr/>
            <p:nvPr/>
          </p:nvSpPr>
          <p:spPr>
            <a:xfrm>
              <a:off x="827584" y="2564904"/>
              <a:ext cx="576064" cy="576064"/>
            </a:xfrm>
            <a:prstGeom prst="ellipse">
              <a:avLst/>
            </a:prstGeom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8" name="Picture 5" descr="C:\Users\user\Downloads\post-it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2206" y="2685603"/>
              <a:ext cx="334666" cy="3346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5124D0-E098-4E81-9395-C7688EF7B566}" type="slidenum">
              <a:rPr lang="ru-RU" smtClean="0"/>
              <a:pPr/>
              <a:t>14</a:t>
            </a:fld>
            <a:endParaRPr lang="ru-RU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-11134" y="2551"/>
            <a:ext cx="9155134" cy="922866"/>
          </a:xfrm>
          <a:prstGeom prst="rect">
            <a:avLst/>
          </a:prstGeom>
          <a:gradFill flip="none" rotWithShape="1">
            <a:gsLst>
              <a:gs pos="0">
                <a:srgbClr val="002060"/>
              </a:gs>
              <a:gs pos="100000">
                <a:srgbClr val="0036A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ru-RU" sz="22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АВТОМАТИЗИРОВАННЫЕ ПРОВЕРКИ ПРИ ВОЗВРАТЕ НДС</a:t>
            </a:r>
          </a:p>
        </p:txBody>
      </p:sp>
    </p:spTree>
    <p:extLst>
      <p:ext uri="{BB962C8B-B14F-4D97-AF65-F5344CB8AC3E}">
        <p14:creationId xmlns:p14="http://schemas.microsoft.com/office/powerpoint/2010/main" val="3287262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55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400000"/>
                    </a14:imgEffect>
                    <a14:imgEffect>
                      <a14:brightnessContrast contrast="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4257" y="321639"/>
            <a:ext cx="9108504" cy="6527879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459480" y="2562609"/>
            <a:ext cx="8244914" cy="43088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625475" algn="just">
              <a:buFont typeface="+mj-lt"/>
              <a:buAutoNum type="arabicPeriod"/>
            </a:pPr>
            <a:endParaRPr lang="ru-RU" i="1" dirty="0" smtClean="0"/>
          </a:p>
          <a:p>
            <a:pPr indent="625475" algn="just">
              <a:buFont typeface="+mj-lt"/>
              <a:buAutoNum type="arabicPeriod"/>
            </a:pPr>
            <a:r>
              <a:rPr lang="ru-RU" sz="2400" dirty="0" smtClean="0"/>
              <a:t>Перечень товаров утверждается Уполномоченным органом </a:t>
            </a:r>
          </a:p>
          <a:p>
            <a:pPr algn="just"/>
            <a:r>
              <a:rPr lang="ru-RU" sz="1600" i="1" dirty="0" smtClean="0"/>
              <a:t>(на </a:t>
            </a:r>
            <a:r>
              <a:rPr lang="ru-RU" sz="1600" i="1" dirty="0"/>
              <a:t>начальном этапе </a:t>
            </a:r>
            <a:r>
              <a:rPr lang="ru-RU" sz="1600" i="1" dirty="0" smtClean="0"/>
              <a:t>в </a:t>
            </a:r>
            <a:r>
              <a:rPr lang="ru-RU" sz="1600" i="1" dirty="0"/>
              <a:t>перечень </a:t>
            </a:r>
            <a:r>
              <a:rPr lang="ru-RU" sz="1600" i="1" dirty="0" smtClean="0"/>
              <a:t>планируется включить оборудование </a:t>
            </a:r>
            <a:r>
              <a:rPr lang="ru-RU" sz="1600" i="1" dirty="0"/>
              <a:t>(станки), используемые для производства готовой </a:t>
            </a:r>
            <a:r>
              <a:rPr lang="ru-RU" sz="1600" i="1" dirty="0" smtClean="0"/>
              <a:t>продукции)</a:t>
            </a:r>
          </a:p>
          <a:p>
            <a:pPr algn="just"/>
            <a:endParaRPr lang="ru-RU" sz="1600" dirty="0" smtClean="0"/>
          </a:p>
          <a:p>
            <a:pPr indent="625475" algn="just">
              <a:buFont typeface="+mj-lt"/>
              <a:buAutoNum type="arabicPeriod" startAt="2"/>
            </a:pPr>
            <a:r>
              <a:rPr lang="ru-RU" sz="2400" dirty="0"/>
              <a:t>Приобретенный товар (оборудование, станки) не подлежит дальнейшей  реализации в течение  </a:t>
            </a:r>
            <a:r>
              <a:rPr lang="en-US" sz="2400" dirty="0"/>
              <a:t>2</a:t>
            </a:r>
            <a:r>
              <a:rPr lang="ru-RU" sz="2400" dirty="0"/>
              <a:t> </a:t>
            </a:r>
            <a:r>
              <a:rPr lang="ru-RU" sz="2400" dirty="0" smtClean="0"/>
              <a:t>лет</a:t>
            </a:r>
          </a:p>
          <a:p>
            <a:pPr indent="625475" algn="just">
              <a:buFont typeface="+mj-lt"/>
              <a:buAutoNum type="arabicPeriod" startAt="2"/>
            </a:pPr>
            <a:endParaRPr lang="ru-RU" sz="2400" dirty="0"/>
          </a:p>
          <a:p>
            <a:pPr algn="just"/>
            <a:r>
              <a:rPr lang="ru-RU" sz="2400" dirty="0" smtClean="0"/>
              <a:t>3.      Применение </a:t>
            </a:r>
            <a:r>
              <a:rPr lang="ru-RU" sz="2400" dirty="0"/>
              <a:t>ЭСФ по всей цепочке движения  </a:t>
            </a:r>
            <a:r>
              <a:rPr lang="ru-RU" sz="2400" dirty="0" smtClean="0"/>
              <a:t>товара от производителя/импортера</a:t>
            </a:r>
            <a:endParaRPr lang="ru-RU" sz="2400" dirty="0"/>
          </a:p>
          <a:p>
            <a:pPr algn="just"/>
            <a:endParaRPr lang="ru-RU" sz="2000" dirty="0" smtClean="0"/>
          </a:p>
          <a:p>
            <a:pPr algn="just"/>
            <a:endParaRPr lang="ru-RU" sz="2000" dirty="0"/>
          </a:p>
        </p:txBody>
      </p:sp>
      <p:pic>
        <p:nvPicPr>
          <p:cNvPr id="11" name="Picture 8" descr="C:\Users\user\Downloads\deliver(1)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1946" y="1315779"/>
            <a:ext cx="1512168" cy="10441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5124D0-E098-4E81-9395-C7688EF7B566}" type="slidenum">
              <a:rPr lang="ru-RU" smtClean="0"/>
              <a:pPr/>
              <a:t>15</a:t>
            </a:fld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0" y="0"/>
            <a:ext cx="9144000" cy="922866"/>
          </a:xfrm>
          <a:prstGeom prst="rect">
            <a:avLst/>
          </a:prstGeom>
          <a:gradFill flip="none" rotWithShape="1">
            <a:gsLst>
              <a:gs pos="0">
                <a:srgbClr val="002060"/>
              </a:gs>
              <a:gs pos="100000">
                <a:srgbClr val="0036A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ru-RU" sz="22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УСЛОВИЯ  ВОЗВРАТА НДС ПО ПРИОБРЕТЕННЫМ ТОВАРАМ ВНУТРИ СТРАНЫ </a:t>
            </a:r>
            <a:endParaRPr lang="ru-RU" sz="22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287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55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35496" y="330121"/>
            <a:ext cx="9108504" cy="6527879"/>
          </a:xfrm>
          <a:prstGeom prst="rect">
            <a:avLst/>
          </a:prstGeom>
        </p:spPr>
      </p:pic>
      <p:sp>
        <p:nvSpPr>
          <p:cNvPr id="34" name="Заголовок 1"/>
          <p:cNvSpPr txBox="1">
            <a:spLocks/>
          </p:cNvSpPr>
          <p:nvPr/>
        </p:nvSpPr>
        <p:spPr>
          <a:xfrm>
            <a:off x="457200" y="332656"/>
            <a:ext cx="8229600" cy="792088"/>
          </a:xfrm>
          <a:prstGeom prst="rect">
            <a:avLst/>
          </a:prstGeom>
        </p:spPr>
        <p:txBody>
          <a:bodyPr>
            <a:normAutofit fontScale="6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b="1" dirty="0"/>
              <a:t>КОНТРОЛЬНЫЙ СЧЕТ НАЛОГА НА ДОБАВЛЕННУЮ СТОИМОСТЬ</a:t>
            </a:r>
          </a:p>
        </p:txBody>
      </p:sp>
      <p:sp>
        <p:nvSpPr>
          <p:cNvPr id="35" name="Левая круглая скобка 34"/>
          <p:cNvSpPr/>
          <p:nvPr/>
        </p:nvSpPr>
        <p:spPr>
          <a:xfrm rot="10800000">
            <a:off x="8532436" y="188637"/>
            <a:ext cx="216025" cy="936106"/>
          </a:xfrm>
          <a:prstGeom prst="leftBracket">
            <a:avLst/>
          </a:prstGeom>
          <a:ln w="98425">
            <a:solidFill>
              <a:srgbClr val="318FCF"/>
            </a:solidFill>
          </a:ln>
          <a:effectLst>
            <a:outerShdw sx="1000" sy="1000" algn="ctr" rotWithShape="0">
              <a:srgbClr val="000000"/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Левая круглая скобка 35"/>
          <p:cNvSpPr/>
          <p:nvPr/>
        </p:nvSpPr>
        <p:spPr>
          <a:xfrm>
            <a:off x="395536" y="188640"/>
            <a:ext cx="216025" cy="936104"/>
          </a:xfrm>
          <a:prstGeom prst="leftBracket">
            <a:avLst/>
          </a:prstGeom>
          <a:ln w="98425">
            <a:solidFill>
              <a:srgbClr val="FF0000"/>
            </a:solidFill>
          </a:ln>
          <a:effectLst>
            <a:outerShdw sx="1000" sy="1000" algn="ctr" rotWithShape="0">
              <a:srgbClr val="000000"/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олилиния: фигура 12">
            <a:extLst>
              <a:ext uri="{FF2B5EF4-FFF2-40B4-BE49-F238E27FC236}">
                <a16:creationId xmlns="" xmlns:a16="http://schemas.microsoft.com/office/drawing/2014/main" id="{C2BADEA6-4995-47C5-AF4F-CFFD90796E33}"/>
              </a:ext>
            </a:extLst>
          </p:cNvPr>
          <p:cNvSpPr/>
          <p:nvPr/>
        </p:nvSpPr>
        <p:spPr>
          <a:xfrm>
            <a:off x="228600" y="1676400"/>
            <a:ext cx="4572000" cy="2819400"/>
          </a:xfrm>
          <a:custGeom>
            <a:avLst/>
            <a:gdLst>
              <a:gd name="connsiteX0" fmla="*/ 4678680 w 4815840"/>
              <a:gd name="connsiteY0" fmla="*/ 76200 h 2819400"/>
              <a:gd name="connsiteX1" fmla="*/ 4640580 w 4815840"/>
              <a:gd name="connsiteY1" fmla="*/ 83820 h 2819400"/>
              <a:gd name="connsiteX2" fmla="*/ 4549140 w 4815840"/>
              <a:gd name="connsiteY2" fmla="*/ 68580 h 2819400"/>
              <a:gd name="connsiteX3" fmla="*/ 4526280 w 4815840"/>
              <a:gd name="connsiteY3" fmla="*/ 60960 h 2819400"/>
              <a:gd name="connsiteX4" fmla="*/ 4450080 w 4815840"/>
              <a:gd name="connsiteY4" fmla="*/ 53340 h 2819400"/>
              <a:gd name="connsiteX5" fmla="*/ 4396740 w 4815840"/>
              <a:gd name="connsiteY5" fmla="*/ 45720 h 2819400"/>
              <a:gd name="connsiteX6" fmla="*/ 3947160 w 4815840"/>
              <a:gd name="connsiteY6" fmla="*/ 30480 h 2819400"/>
              <a:gd name="connsiteX7" fmla="*/ 3825240 w 4815840"/>
              <a:gd name="connsiteY7" fmla="*/ 15240 h 2819400"/>
              <a:gd name="connsiteX8" fmla="*/ 3802380 w 4815840"/>
              <a:gd name="connsiteY8" fmla="*/ 7620 h 2819400"/>
              <a:gd name="connsiteX9" fmla="*/ 3741420 w 4815840"/>
              <a:gd name="connsiteY9" fmla="*/ 0 h 2819400"/>
              <a:gd name="connsiteX10" fmla="*/ 2362200 w 4815840"/>
              <a:gd name="connsiteY10" fmla="*/ 7620 h 2819400"/>
              <a:gd name="connsiteX11" fmla="*/ 2331720 w 4815840"/>
              <a:gd name="connsiteY11" fmla="*/ 15240 h 2819400"/>
              <a:gd name="connsiteX12" fmla="*/ 2247900 w 4815840"/>
              <a:gd name="connsiteY12" fmla="*/ 22860 h 2819400"/>
              <a:gd name="connsiteX13" fmla="*/ 2164080 w 4815840"/>
              <a:gd name="connsiteY13" fmla="*/ 53340 h 2819400"/>
              <a:gd name="connsiteX14" fmla="*/ 2164080 w 4815840"/>
              <a:gd name="connsiteY14" fmla="*/ 53340 h 2819400"/>
              <a:gd name="connsiteX15" fmla="*/ 2133600 w 4815840"/>
              <a:gd name="connsiteY15" fmla="*/ 68580 h 2819400"/>
              <a:gd name="connsiteX16" fmla="*/ 2103120 w 4815840"/>
              <a:gd name="connsiteY16" fmla="*/ 76200 h 2819400"/>
              <a:gd name="connsiteX17" fmla="*/ 2057400 w 4815840"/>
              <a:gd name="connsiteY17" fmla="*/ 91440 h 2819400"/>
              <a:gd name="connsiteX18" fmla="*/ 2019300 w 4815840"/>
              <a:gd name="connsiteY18" fmla="*/ 99060 h 2819400"/>
              <a:gd name="connsiteX19" fmla="*/ 1996440 w 4815840"/>
              <a:gd name="connsiteY19" fmla="*/ 106680 h 2819400"/>
              <a:gd name="connsiteX20" fmla="*/ 1950720 w 4815840"/>
              <a:gd name="connsiteY20" fmla="*/ 114300 h 2819400"/>
              <a:gd name="connsiteX21" fmla="*/ 1912620 w 4815840"/>
              <a:gd name="connsiteY21" fmla="*/ 121920 h 2819400"/>
              <a:gd name="connsiteX22" fmla="*/ 1882140 w 4815840"/>
              <a:gd name="connsiteY22" fmla="*/ 129540 h 2819400"/>
              <a:gd name="connsiteX23" fmla="*/ 1836420 w 4815840"/>
              <a:gd name="connsiteY23" fmla="*/ 137160 h 2819400"/>
              <a:gd name="connsiteX24" fmla="*/ 1790700 w 4815840"/>
              <a:gd name="connsiteY24" fmla="*/ 160020 h 2819400"/>
              <a:gd name="connsiteX25" fmla="*/ 1767840 w 4815840"/>
              <a:gd name="connsiteY25" fmla="*/ 167640 h 2819400"/>
              <a:gd name="connsiteX26" fmla="*/ 1699260 w 4815840"/>
              <a:gd name="connsiteY26" fmla="*/ 182880 h 2819400"/>
              <a:gd name="connsiteX27" fmla="*/ 1638300 w 4815840"/>
              <a:gd name="connsiteY27" fmla="*/ 213360 h 2819400"/>
              <a:gd name="connsiteX28" fmla="*/ 1615440 w 4815840"/>
              <a:gd name="connsiteY28" fmla="*/ 236220 h 2819400"/>
              <a:gd name="connsiteX29" fmla="*/ 1546860 w 4815840"/>
              <a:gd name="connsiteY29" fmla="*/ 289560 h 2819400"/>
              <a:gd name="connsiteX30" fmla="*/ 1516380 w 4815840"/>
              <a:gd name="connsiteY30" fmla="*/ 297180 h 2819400"/>
              <a:gd name="connsiteX31" fmla="*/ 1493520 w 4815840"/>
              <a:gd name="connsiteY31" fmla="*/ 304800 h 2819400"/>
              <a:gd name="connsiteX32" fmla="*/ 1470660 w 4815840"/>
              <a:gd name="connsiteY32" fmla="*/ 320040 h 2819400"/>
              <a:gd name="connsiteX33" fmla="*/ 1409700 w 4815840"/>
              <a:gd name="connsiteY33" fmla="*/ 335280 h 2819400"/>
              <a:gd name="connsiteX34" fmla="*/ 1386840 w 4815840"/>
              <a:gd name="connsiteY34" fmla="*/ 342900 h 2819400"/>
              <a:gd name="connsiteX35" fmla="*/ 1363980 w 4815840"/>
              <a:gd name="connsiteY35" fmla="*/ 365760 h 2819400"/>
              <a:gd name="connsiteX36" fmla="*/ 1341120 w 4815840"/>
              <a:gd name="connsiteY36" fmla="*/ 373380 h 2819400"/>
              <a:gd name="connsiteX37" fmla="*/ 1295400 w 4815840"/>
              <a:gd name="connsiteY37" fmla="*/ 419100 h 2819400"/>
              <a:gd name="connsiteX38" fmla="*/ 1249680 w 4815840"/>
              <a:gd name="connsiteY38" fmla="*/ 457200 h 2819400"/>
              <a:gd name="connsiteX39" fmla="*/ 1203960 w 4815840"/>
              <a:gd name="connsiteY39" fmla="*/ 487680 h 2819400"/>
              <a:gd name="connsiteX40" fmla="*/ 1158240 w 4815840"/>
              <a:gd name="connsiteY40" fmla="*/ 518160 h 2819400"/>
              <a:gd name="connsiteX41" fmla="*/ 1143000 w 4815840"/>
              <a:gd name="connsiteY41" fmla="*/ 541020 h 2819400"/>
              <a:gd name="connsiteX42" fmla="*/ 1097280 w 4815840"/>
              <a:gd name="connsiteY42" fmla="*/ 563880 h 2819400"/>
              <a:gd name="connsiteX43" fmla="*/ 1074420 w 4815840"/>
              <a:gd name="connsiteY43" fmla="*/ 586740 h 2819400"/>
              <a:gd name="connsiteX44" fmla="*/ 1028700 w 4815840"/>
              <a:gd name="connsiteY44" fmla="*/ 617220 h 2819400"/>
              <a:gd name="connsiteX45" fmla="*/ 998220 w 4815840"/>
              <a:gd name="connsiteY45" fmla="*/ 647700 h 2819400"/>
              <a:gd name="connsiteX46" fmla="*/ 982980 w 4815840"/>
              <a:gd name="connsiteY46" fmla="*/ 670560 h 2819400"/>
              <a:gd name="connsiteX47" fmla="*/ 960120 w 4815840"/>
              <a:gd name="connsiteY47" fmla="*/ 685800 h 2819400"/>
              <a:gd name="connsiteX48" fmla="*/ 891540 w 4815840"/>
              <a:gd name="connsiteY48" fmla="*/ 746760 h 2819400"/>
              <a:gd name="connsiteX49" fmla="*/ 853440 w 4815840"/>
              <a:gd name="connsiteY49" fmla="*/ 792480 h 2819400"/>
              <a:gd name="connsiteX50" fmla="*/ 838200 w 4815840"/>
              <a:gd name="connsiteY50" fmla="*/ 815340 h 2819400"/>
              <a:gd name="connsiteX51" fmla="*/ 815340 w 4815840"/>
              <a:gd name="connsiteY51" fmla="*/ 838200 h 2819400"/>
              <a:gd name="connsiteX52" fmla="*/ 800100 w 4815840"/>
              <a:gd name="connsiteY52" fmla="*/ 861060 h 2819400"/>
              <a:gd name="connsiteX53" fmla="*/ 777240 w 4815840"/>
              <a:gd name="connsiteY53" fmla="*/ 883920 h 2819400"/>
              <a:gd name="connsiteX54" fmla="*/ 746760 w 4815840"/>
              <a:gd name="connsiteY54" fmla="*/ 929640 h 2819400"/>
              <a:gd name="connsiteX55" fmla="*/ 723900 w 4815840"/>
              <a:gd name="connsiteY55" fmla="*/ 952500 h 2819400"/>
              <a:gd name="connsiteX56" fmla="*/ 708660 w 4815840"/>
              <a:gd name="connsiteY56" fmla="*/ 975360 h 2819400"/>
              <a:gd name="connsiteX57" fmla="*/ 685800 w 4815840"/>
              <a:gd name="connsiteY57" fmla="*/ 982980 h 2819400"/>
              <a:gd name="connsiteX58" fmla="*/ 655320 w 4815840"/>
              <a:gd name="connsiteY58" fmla="*/ 1051560 h 2819400"/>
              <a:gd name="connsiteX59" fmla="*/ 609600 w 4815840"/>
              <a:gd name="connsiteY59" fmla="*/ 1089660 h 2819400"/>
              <a:gd name="connsiteX60" fmla="*/ 594360 w 4815840"/>
              <a:gd name="connsiteY60" fmla="*/ 1112520 h 2819400"/>
              <a:gd name="connsiteX61" fmla="*/ 571500 w 4815840"/>
              <a:gd name="connsiteY61" fmla="*/ 1135380 h 2819400"/>
              <a:gd name="connsiteX62" fmla="*/ 518160 w 4815840"/>
              <a:gd name="connsiteY62" fmla="*/ 1203960 h 2819400"/>
              <a:gd name="connsiteX63" fmla="*/ 487680 w 4815840"/>
              <a:gd name="connsiteY63" fmla="*/ 1249680 h 2819400"/>
              <a:gd name="connsiteX64" fmla="*/ 457200 w 4815840"/>
              <a:gd name="connsiteY64" fmla="*/ 1280160 h 2819400"/>
              <a:gd name="connsiteX65" fmla="*/ 449580 w 4815840"/>
              <a:gd name="connsiteY65" fmla="*/ 1303020 h 2819400"/>
              <a:gd name="connsiteX66" fmla="*/ 373380 w 4815840"/>
              <a:gd name="connsiteY66" fmla="*/ 1394460 h 2819400"/>
              <a:gd name="connsiteX67" fmla="*/ 350520 w 4815840"/>
              <a:gd name="connsiteY67" fmla="*/ 1440180 h 2819400"/>
              <a:gd name="connsiteX68" fmla="*/ 335280 w 4815840"/>
              <a:gd name="connsiteY68" fmla="*/ 1485900 h 2819400"/>
              <a:gd name="connsiteX69" fmla="*/ 304800 w 4815840"/>
              <a:gd name="connsiteY69" fmla="*/ 1531620 h 2819400"/>
              <a:gd name="connsiteX70" fmla="*/ 297180 w 4815840"/>
              <a:gd name="connsiteY70" fmla="*/ 1554480 h 2819400"/>
              <a:gd name="connsiteX71" fmla="*/ 251460 w 4815840"/>
              <a:gd name="connsiteY71" fmla="*/ 1623060 h 2819400"/>
              <a:gd name="connsiteX72" fmla="*/ 205740 w 4815840"/>
              <a:gd name="connsiteY72" fmla="*/ 1691640 h 2819400"/>
              <a:gd name="connsiteX73" fmla="*/ 190500 w 4815840"/>
              <a:gd name="connsiteY73" fmla="*/ 1714500 h 2819400"/>
              <a:gd name="connsiteX74" fmla="*/ 175260 w 4815840"/>
              <a:gd name="connsiteY74" fmla="*/ 1737360 h 2819400"/>
              <a:gd name="connsiteX75" fmla="*/ 152400 w 4815840"/>
              <a:gd name="connsiteY75" fmla="*/ 1783080 h 2819400"/>
              <a:gd name="connsiteX76" fmla="*/ 144780 w 4815840"/>
              <a:gd name="connsiteY76" fmla="*/ 1805940 h 2819400"/>
              <a:gd name="connsiteX77" fmla="*/ 106680 w 4815840"/>
              <a:gd name="connsiteY77" fmla="*/ 1851660 h 2819400"/>
              <a:gd name="connsiteX78" fmla="*/ 83820 w 4815840"/>
              <a:gd name="connsiteY78" fmla="*/ 1920240 h 2819400"/>
              <a:gd name="connsiteX79" fmla="*/ 68580 w 4815840"/>
              <a:gd name="connsiteY79" fmla="*/ 1965960 h 2819400"/>
              <a:gd name="connsiteX80" fmla="*/ 60960 w 4815840"/>
              <a:gd name="connsiteY80" fmla="*/ 1988820 h 2819400"/>
              <a:gd name="connsiteX81" fmla="*/ 53340 w 4815840"/>
              <a:gd name="connsiteY81" fmla="*/ 2019300 h 2819400"/>
              <a:gd name="connsiteX82" fmla="*/ 45720 w 4815840"/>
              <a:gd name="connsiteY82" fmla="*/ 2042160 h 2819400"/>
              <a:gd name="connsiteX83" fmla="*/ 38100 w 4815840"/>
              <a:gd name="connsiteY83" fmla="*/ 2087880 h 2819400"/>
              <a:gd name="connsiteX84" fmla="*/ 30480 w 4815840"/>
              <a:gd name="connsiteY84" fmla="*/ 2110740 h 2819400"/>
              <a:gd name="connsiteX85" fmla="*/ 15240 w 4815840"/>
              <a:gd name="connsiteY85" fmla="*/ 2171700 h 2819400"/>
              <a:gd name="connsiteX86" fmla="*/ 7620 w 4815840"/>
              <a:gd name="connsiteY86" fmla="*/ 2225040 h 2819400"/>
              <a:gd name="connsiteX87" fmla="*/ 0 w 4815840"/>
              <a:gd name="connsiteY87" fmla="*/ 2255520 h 2819400"/>
              <a:gd name="connsiteX88" fmla="*/ 7620 w 4815840"/>
              <a:gd name="connsiteY88" fmla="*/ 2476500 h 2819400"/>
              <a:gd name="connsiteX89" fmla="*/ 30480 w 4815840"/>
              <a:gd name="connsiteY89" fmla="*/ 2552700 h 2819400"/>
              <a:gd name="connsiteX90" fmla="*/ 68580 w 4815840"/>
              <a:gd name="connsiteY90" fmla="*/ 2590800 h 2819400"/>
              <a:gd name="connsiteX91" fmla="*/ 114300 w 4815840"/>
              <a:gd name="connsiteY91" fmla="*/ 2636520 h 2819400"/>
              <a:gd name="connsiteX92" fmla="*/ 160020 w 4815840"/>
              <a:gd name="connsiteY92" fmla="*/ 2674620 h 2819400"/>
              <a:gd name="connsiteX93" fmla="*/ 182880 w 4815840"/>
              <a:gd name="connsiteY93" fmla="*/ 2682240 h 2819400"/>
              <a:gd name="connsiteX94" fmla="*/ 228600 w 4815840"/>
              <a:gd name="connsiteY94" fmla="*/ 2720340 h 2819400"/>
              <a:gd name="connsiteX95" fmla="*/ 274320 w 4815840"/>
              <a:gd name="connsiteY95" fmla="*/ 2743200 h 2819400"/>
              <a:gd name="connsiteX96" fmla="*/ 297180 w 4815840"/>
              <a:gd name="connsiteY96" fmla="*/ 2758440 h 2819400"/>
              <a:gd name="connsiteX97" fmla="*/ 320040 w 4815840"/>
              <a:gd name="connsiteY97" fmla="*/ 2766060 h 2819400"/>
              <a:gd name="connsiteX98" fmla="*/ 342900 w 4815840"/>
              <a:gd name="connsiteY98" fmla="*/ 2781300 h 2819400"/>
              <a:gd name="connsiteX99" fmla="*/ 396240 w 4815840"/>
              <a:gd name="connsiteY99" fmla="*/ 2788920 h 2819400"/>
              <a:gd name="connsiteX100" fmla="*/ 449580 w 4815840"/>
              <a:gd name="connsiteY100" fmla="*/ 2804160 h 2819400"/>
              <a:gd name="connsiteX101" fmla="*/ 495300 w 4815840"/>
              <a:gd name="connsiteY101" fmla="*/ 2811780 h 2819400"/>
              <a:gd name="connsiteX102" fmla="*/ 647700 w 4815840"/>
              <a:gd name="connsiteY102" fmla="*/ 2819400 h 2819400"/>
              <a:gd name="connsiteX103" fmla="*/ 1173480 w 4815840"/>
              <a:gd name="connsiteY103" fmla="*/ 2811780 h 2819400"/>
              <a:gd name="connsiteX104" fmla="*/ 1348740 w 4815840"/>
              <a:gd name="connsiteY104" fmla="*/ 2804160 h 2819400"/>
              <a:gd name="connsiteX105" fmla="*/ 1463040 w 4815840"/>
              <a:gd name="connsiteY105" fmla="*/ 2781300 h 2819400"/>
              <a:gd name="connsiteX106" fmla="*/ 1584960 w 4815840"/>
              <a:gd name="connsiteY106" fmla="*/ 2766060 h 2819400"/>
              <a:gd name="connsiteX107" fmla="*/ 1630680 w 4815840"/>
              <a:gd name="connsiteY107" fmla="*/ 2758440 h 2819400"/>
              <a:gd name="connsiteX108" fmla="*/ 1653540 w 4815840"/>
              <a:gd name="connsiteY108" fmla="*/ 2750820 h 2819400"/>
              <a:gd name="connsiteX109" fmla="*/ 1722120 w 4815840"/>
              <a:gd name="connsiteY109" fmla="*/ 2743200 h 2819400"/>
              <a:gd name="connsiteX110" fmla="*/ 1783080 w 4815840"/>
              <a:gd name="connsiteY110" fmla="*/ 2735580 h 2819400"/>
              <a:gd name="connsiteX111" fmla="*/ 1897380 w 4815840"/>
              <a:gd name="connsiteY111" fmla="*/ 2720340 h 2819400"/>
              <a:gd name="connsiteX112" fmla="*/ 2125980 w 4815840"/>
              <a:gd name="connsiteY112" fmla="*/ 2712720 h 2819400"/>
              <a:gd name="connsiteX113" fmla="*/ 2735580 w 4815840"/>
              <a:gd name="connsiteY113" fmla="*/ 2712720 h 2819400"/>
              <a:gd name="connsiteX114" fmla="*/ 3169920 w 4815840"/>
              <a:gd name="connsiteY114" fmla="*/ 2727960 h 2819400"/>
              <a:gd name="connsiteX115" fmla="*/ 3284220 w 4815840"/>
              <a:gd name="connsiteY115" fmla="*/ 2735580 h 2819400"/>
              <a:gd name="connsiteX116" fmla="*/ 3360420 w 4815840"/>
              <a:gd name="connsiteY116" fmla="*/ 2743200 h 2819400"/>
              <a:gd name="connsiteX117" fmla="*/ 3429000 w 4815840"/>
              <a:gd name="connsiteY117" fmla="*/ 2750820 h 2819400"/>
              <a:gd name="connsiteX118" fmla="*/ 3550920 w 4815840"/>
              <a:gd name="connsiteY118" fmla="*/ 2758440 h 2819400"/>
              <a:gd name="connsiteX119" fmla="*/ 3657600 w 4815840"/>
              <a:gd name="connsiteY119" fmla="*/ 2766060 h 2819400"/>
              <a:gd name="connsiteX120" fmla="*/ 3703320 w 4815840"/>
              <a:gd name="connsiteY120" fmla="*/ 2773680 h 2819400"/>
              <a:gd name="connsiteX121" fmla="*/ 3924300 w 4815840"/>
              <a:gd name="connsiteY121" fmla="*/ 2788920 h 2819400"/>
              <a:gd name="connsiteX122" fmla="*/ 4312920 w 4815840"/>
              <a:gd name="connsiteY122" fmla="*/ 2781300 h 2819400"/>
              <a:gd name="connsiteX123" fmla="*/ 4381500 w 4815840"/>
              <a:gd name="connsiteY123" fmla="*/ 2750820 h 2819400"/>
              <a:gd name="connsiteX124" fmla="*/ 4404360 w 4815840"/>
              <a:gd name="connsiteY124" fmla="*/ 2727960 h 2819400"/>
              <a:gd name="connsiteX125" fmla="*/ 4419600 w 4815840"/>
              <a:gd name="connsiteY125" fmla="*/ 2705100 h 2819400"/>
              <a:gd name="connsiteX126" fmla="*/ 4465320 w 4815840"/>
              <a:gd name="connsiteY126" fmla="*/ 2689860 h 2819400"/>
              <a:gd name="connsiteX127" fmla="*/ 4488180 w 4815840"/>
              <a:gd name="connsiteY127" fmla="*/ 2682240 h 2819400"/>
              <a:gd name="connsiteX128" fmla="*/ 4533900 w 4815840"/>
              <a:gd name="connsiteY128" fmla="*/ 2651760 h 2819400"/>
              <a:gd name="connsiteX129" fmla="*/ 4579620 w 4815840"/>
              <a:gd name="connsiteY129" fmla="*/ 2621280 h 2819400"/>
              <a:gd name="connsiteX130" fmla="*/ 4602480 w 4815840"/>
              <a:gd name="connsiteY130" fmla="*/ 2598420 h 2819400"/>
              <a:gd name="connsiteX131" fmla="*/ 4625340 w 4815840"/>
              <a:gd name="connsiteY131" fmla="*/ 2590800 h 2819400"/>
              <a:gd name="connsiteX132" fmla="*/ 4640580 w 4815840"/>
              <a:gd name="connsiteY132" fmla="*/ 2567940 h 2819400"/>
              <a:gd name="connsiteX133" fmla="*/ 4686300 w 4815840"/>
              <a:gd name="connsiteY133" fmla="*/ 2537460 h 2819400"/>
              <a:gd name="connsiteX134" fmla="*/ 4701540 w 4815840"/>
              <a:gd name="connsiteY134" fmla="*/ 2514600 h 2819400"/>
              <a:gd name="connsiteX135" fmla="*/ 4754880 w 4815840"/>
              <a:gd name="connsiteY135" fmla="*/ 2453640 h 2819400"/>
              <a:gd name="connsiteX136" fmla="*/ 4770120 w 4815840"/>
              <a:gd name="connsiteY136" fmla="*/ 2407920 h 2819400"/>
              <a:gd name="connsiteX137" fmla="*/ 4785360 w 4815840"/>
              <a:gd name="connsiteY137" fmla="*/ 2354580 h 2819400"/>
              <a:gd name="connsiteX138" fmla="*/ 4792980 w 4815840"/>
              <a:gd name="connsiteY138" fmla="*/ 2270760 h 2819400"/>
              <a:gd name="connsiteX139" fmla="*/ 4808220 w 4815840"/>
              <a:gd name="connsiteY139" fmla="*/ 2057400 h 2819400"/>
              <a:gd name="connsiteX140" fmla="*/ 4815840 w 4815840"/>
              <a:gd name="connsiteY140" fmla="*/ 1783080 h 2819400"/>
              <a:gd name="connsiteX141" fmla="*/ 4808220 w 4815840"/>
              <a:gd name="connsiteY141" fmla="*/ 1402080 h 2819400"/>
              <a:gd name="connsiteX142" fmla="*/ 4785360 w 4815840"/>
              <a:gd name="connsiteY142" fmla="*/ 1318260 h 2819400"/>
              <a:gd name="connsiteX143" fmla="*/ 4770120 w 4815840"/>
              <a:gd name="connsiteY143" fmla="*/ 1257300 h 2819400"/>
              <a:gd name="connsiteX144" fmla="*/ 4754880 w 4815840"/>
              <a:gd name="connsiteY144" fmla="*/ 1196340 h 2819400"/>
              <a:gd name="connsiteX145" fmla="*/ 4732020 w 4815840"/>
              <a:gd name="connsiteY145" fmla="*/ 1150620 h 2819400"/>
              <a:gd name="connsiteX146" fmla="*/ 4724400 w 4815840"/>
              <a:gd name="connsiteY146" fmla="*/ 1120140 h 2819400"/>
              <a:gd name="connsiteX147" fmla="*/ 4709160 w 4815840"/>
              <a:gd name="connsiteY147" fmla="*/ 1074420 h 2819400"/>
              <a:gd name="connsiteX148" fmla="*/ 4701540 w 4815840"/>
              <a:gd name="connsiteY148" fmla="*/ 1051560 h 2819400"/>
              <a:gd name="connsiteX149" fmla="*/ 4693920 w 4815840"/>
              <a:gd name="connsiteY149" fmla="*/ 1021080 h 2819400"/>
              <a:gd name="connsiteX150" fmla="*/ 4686300 w 4815840"/>
              <a:gd name="connsiteY150" fmla="*/ 975360 h 2819400"/>
              <a:gd name="connsiteX151" fmla="*/ 4671060 w 4815840"/>
              <a:gd name="connsiteY151" fmla="*/ 952500 h 2819400"/>
              <a:gd name="connsiteX152" fmla="*/ 4648200 w 4815840"/>
              <a:gd name="connsiteY152" fmla="*/ 906780 h 2819400"/>
              <a:gd name="connsiteX153" fmla="*/ 4640580 w 4815840"/>
              <a:gd name="connsiteY153" fmla="*/ 876300 h 2819400"/>
              <a:gd name="connsiteX154" fmla="*/ 4632960 w 4815840"/>
              <a:gd name="connsiteY154" fmla="*/ 853440 h 2819400"/>
              <a:gd name="connsiteX155" fmla="*/ 4625340 w 4815840"/>
              <a:gd name="connsiteY155" fmla="*/ 769620 h 2819400"/>
              <a:gd name="connsiteX156" fmla="*/ 4632960 w 4815840"/>
              <a:gd name="connsiteY156" fmla="*/ 601980 h 2819400"/>
              <a:gd name="connsiteX157" fmla="*/ 4648200 w 4815840"/>
              <a:gd name="connsiteY157" fmla="*/ 579120 h 2819400"/>
              <a:gd name="connsiteX158" fmla="*/ 4655820 w 4815840"/>
              <a:gd name="connsiteY158" fmla="*/ 556260 h 2819400"/>
              <a:gd name="connsiteX159" fmla="*/ 4671060 w 4815840"/>
              <a:gd name="connsiteY159" fmla="*/ 533400 h 2819400"/>
              <a:gd name="connsiteX160" fmla="*/ 4686300 w 4815840"/>
              <a:gd name="connsiteY160" fmla="*/ 487680 h 2819400"/>
              <a:gd name="connsiteX161" fmla="*/ 4701540 w 4815840"/>
              <a:gd name="connsiteY161" fmla="*/ 464820 h 2819400"/>
              <a:gd name="connsiteX162" fmla="*/ 4716780 w 4815840"/>
              <a:gd name="connsiteY162" fmla="*/ 419100 h 2819400"/>
              <a:gd name="connsiteX163" fmla="*/ 4724400 w 4815840"/>
              <a:gd name="connsiteY163" fmla="*/ 396240 h 2819400"/>
              <a:gd name="connsiteX164" fmla="*/ 4754880 w 4815840"/>
              <a:gd name="connsiteY164" fmla="*/ 350520 h 2819400"/>
              <a:gd name="connsiteX165" fmla="*/ 4770120 w 4815840"/>
              <a:gd name="connsiteY165" fmla="*/ 304800 h 2819400"/>
              <a:gd name="connsiteX166" fmla="*/ 4792980 w 4815840"/>
              <a:gd name="connsiteY166" fmla="*/ 259080 h 2819400"/>
              <a:gd name="connsiteX167" fmla="*/ 4777740 w 4815840"/>
              <a:gd name="connsiteY167" fmla="*/ 144780 h 2819400"/>
              <a:gd name="connsiteX168" fmla="*/ 4762500 w 4815840"/>
              <a:gd name="connsiteY168" fmla="*/ 121920 h 2819400"/>
              <a:gd name="connsiteX169" fmla="*/ 4739640 w 4815840"/>
              <a:gd name="connsiteY169" fmla="*/ 114300 h 2819400"/>
              <a:gd name="connsiteX170" fmla="*/ 4732020 w 4815840"/>
              <a:gd name="connsiteY170" fmla="*/ 91440 h 2819400"/>
              <a:gd name="connsiteX171" fmla="*/ 4709160 w 4815840"/>
              <a:gd name="connsiteY171" fmla="*/ 83820 h 2819400"/>
              <a:gd name="connsiteX172" fmla="*/ 4678680 w 4815840"/>
              <a:gd name="connsiteY172" fmla="*/ 76200 h 281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</a:cxnLst>
            <a:rect l="l" t="t" r="r" b="b"/>
            <a:pathLst>
              <a:path w="4815840" h="2819400">
                <a:moveTo>
                  <a:pt x="4678680" y="76200"/>
                </a:moveTo>
                <a:cubicBezTo>
                  <a:pt x="4667250" y="76200"/>
                  <a:pt x="4653532" y="83820"/>
                  <a:pt x="4640580" y="83820"/>
                </a:cubicBezTo>
                <a:cubicBezTo>
                  <a:pt x="4627677" y="83820"/>
                  <a:pt x="4566447" y="72907"/>
                  <a:pt x="4549140" y="68580"/>
                </a:cubicBezTo>
                <a:cubicBezTo>
                  <a:pt x="4541348" y="66632"/>
                  <a:pt x="4534219" y="62181"/>
                  <a:pt x="4526280" y="60960"/>
                </a:cubicBezTo>
                <a:cubicBezTo>
                  <a:pt x="4501050" y="57078"/>
                  <a:pt x="4475432" y="56323"/>
                  <a:pt x="4450080" y="53340"/>
                </a:cubicBezTo>
                <a:cubicBezTo>
                  <a:pt x="4432243" y="51241"/>
                  <a:pt x="4414638" y="47212"/>
                  <a:pt x="4396740" y="45720"/>
                </a:cubicBezTo>
                <a:cubicBezTo>
                  <a:pt x="4257878" y="34148"/>
                  <a:pt x="4070639" y="33420"/>
                  <a:pt x="3947160" y="30480"/>
                </a:cubicBezTo>
                <a:cubicBezTo>
                  <a:pt x="3840959" y="9240"/>
                  <a:pt x="4009884" y="41618"/>
                  <a:pt x="3825240" y="15240"/>
                </a:cubicBezTo>
                <a:cubicBezTo>
                  <a:pt x="3817289" y="14104"/>
                  <a:pt x="3810283" y="9057"/>
                  <a:pt x="3802380" y="7620"/>
                </a:cubicBezTo>
                <a:cubicBezTo>
                  <a:pt x="3782232" y="3957"/>
                  <a:pt x="3761740" y="2540"/>
                  <a:pt x="3741420" y="0"/>
                </a:cubicBezTo>
                <a:lnTo>
                  <a:pt x="2362200" y="7620"/>
                </a:lnTo>
                <a:cubicBezTo>
                  <a:pt x="2351728" y="7733"/>
                  <a:pt x="2342101" y="13856"/>
                  <a:pt x="2331720" y="15240"/>
                </a:cubicBezTo>
                <a:cubicBezTo>
                  <a:pt x="2303911" y="18948"/>
                  <a:pt x="2275840" y="20320"/>
                  <a:pt x="2247900" y="22860"/>
                </a:cubicBezTo>
                <a:cubicBezTo>
                  <a:pt x="2207612" y="49718"/>
                  <a:pt x="2233925" y="35879"/>
                  <a:pt x="2164080" y="53340"/>
                </a:cubicBezTo>
                <a:lnTo>
                  <a:pt x="2164080" y="53340"/>
                </a:lnTo>
                <a:cubicBezTo>
                  <a:pt x="2153920" y="58420"/>
                  <a:pt x="2144236" y="64592"/>
                  <a:pt x="2133600" y="68580"/>
                </a:cubicBezTo>
                <a:cubicBezTo>
                  <a:pt x="2123794" y="72257"/>
                  <a:pt x="2113151" y="73191"/>
                  <a:pt x="2103120" y="76200"/>
                </a:cubicBezTo>
                <a:cubicBezTo>
                  <a:pt x="2087733" y="80816"/>
                  <a:pt x="2073152" y="88290"/>
                  <a:pt x="2057400" y="91440"/>
                </a:cubicBezTo>
                <a:cubicBezTo>
                  <a:pt x="2044700" y="93980"/>
                  <a:pt x="2031865" y="95919"/>
                  <a:pt x="2019300" y="99060"/>
                </a:cubicBezTo>
                <a:cubicBezTo>
                  <a:pt x="2011508" y="101008"/>
                  <a:pt x="2004281" y="104938"/>
                  <a:pt x="1996440" y="106680"/>
                </a:cubicBezTo>
                <a:cubicBezTo>
                  <a:pt x="1981358" y="110032"/>
                  <a:pt x="1965921" y="111536"/>
                  <a:pt x="1950720" y="114300"/>
                </a:cubicBezTo>
                <a:cubicBezTo>
                  <a:pt x="1937977" y="116617"/>
                  <a:pt x="1925263" y="119110"/>
                  <a:pt x="1912620" y="121920"/>
                </a:cubicBezTo>
                <a:cubicBezTo>
                  <a:pt x="1902397" y="124192"/>
                  <a:pt x="1892409" y="127486"/>
                  <a:pt x="1882140" y="129540"/>
                </a:cubicBezTo>
                <a:cubicBezTo>
                  <a:pt x="1866990" y="132570"/>
                  <a:pt x="1851502" y="133808"/>
                  <a:pt x="1836420" y="137160"/>
                </a:cubicBezTo>
                <a:cubicBezTo>
                  <a:pt x="1801944" y="144821"/>
                  <a:pt x="1823581" y="143580"/>
                  <a:pt x="1790700" y="160020"/>
                </a:cubicBezTo>
                <a:cubicBezTo>
                  <a:pt x="1783516" y="163612"/>
                  <a:pt x="1775563" y="165433"/>
                  <a:pt x="1767840" y="167640"/>
                </a:cubicBezTo>
                <a:cubicBezTo>
                  <a:pt x="1742731" y="174814"/>
                  <a:pt x="1725449" y="177642"/>
                  <a:pt x="1699260" y="182880"/>
                </a:cubicBezTo>
                <a:cubicBezTo>
                  <a:pt x="1678940" y="193040"/>
                  <a:pt x="1657467" y="201163"/>
                  <a:pt x="1638300" y="213360"/>
                </a:cubicBezTo>
                <a:cubicBezTo>
                  <a:pt x="1629208" y="219146"/>
                  <a:pt x="1623719" y="229321"/>
                  <a:pt x="1615440" y="236220"/>
                </a:cubicBezTo>
                <a:cubicBezTo>
                  <a:pt x="1593192" y="254760"/>
                  <a:pt x="1571524" y="274382"/>
                  <a:pt x="1546860" y="289560"/>
                </a:cubicBezTo>
                <a:cubicBezTo>
                  <a:pt x="1537941" y="295049"/>
                  <a:pt x="1526450" y="294303"/>
                  <a:pt x="1516380" y="297180"/>
                </a:cubicBezTo>
                <a:cubicBezTo>
                  <a:pt x="1508657" y="299387"/>
                  <a:pt x="1500704" y="301208"/>
                  <a:pt x="1493520" y="304800"/>
                </a:cubicBezTo>
                <a:cubicBezTo>
                  <a:pt x="1485329" y="308896"/>
                  <a:pt x="1478851" y="315944"/>
                  <a:pt x="1470660" y="320040"/>
                </a:cubicBezTo>
                <a:cubicBezTo>
                  <a:pt x="1453242" y="328749"/>
                  <a:pt x="1427090" y="330933"/>
                  <a:pt x="1409700" y="335280"/>
                </a:cubicBezTo>
                <a:cubicBezTo>
                  <a:pt x="1401908" y="337228"/>
                  <a:pt x="1394460" y="340360"/>
                  <a:pt x="1386840" y="342900"/>
                </a:cubicBezTo>
                <a:cubicBezTo>
                  <a:pt x="1379220" y="350520"/>
                  <a:pt x="1372946" y="359782"/>
                  <a:pt x="1363980" y="365760"/>
                </a:cubicBezTo>
                <a:cubicBezTo>
                  <a:pt x="1357297" y="370215"/>
                  <a:pt x="1347460" y="368449"/>
                  <a:pt x="1341120" y="373380"/>
                </a:cubicBezTo>
                <a:cubicBezTo>
                  <a:pt x="1324107" y="386612"/>
                  <a:pt x="1313333" y="407145"/>
                  <a:pt x="1295400" y="419100"/>
                </a:cubicBezTo>
                <a:cubicBezTo>
                  <a:pt x="1213712" y="473558"/>
                  <a:pt x="1337687" y="388750"/>
                  <a:pt x="1249680" y="457200"/>
                </a:cubicBezTo>
                <a:cubicBezTo>
                  <a:pt x="1235222" y="468445"/>
                  <a:pt x="1216912" y="474728"/>
                  <a:pt x="1203960" y="487680"/>
                </a:cubicBezTo>
                <a:cubicBezTo>
                  <a:pt x="1175420" y="516220"/>
                  <a:pt x="1191323" y="507132"/>
                  <a:pt x="1158240" y="518160"/>
                </a:cubicBezTo>
                <a:cubicBezTo>
                  <a:pt x="1153160" y="525780"/>
                  <a:pt x="1149476" y="534544"/>
                  <a:pt x="1143000" y="541020"/>
                </a:cubicBezTo>
                <a:cubicBezTo>
                  <a:pt x="1128228" y="555792"/>
                  <a:pt x="1115873" y="557682"/>
                  <a:pt x="1097280" y="563880"/>
                </a:cubicBezTo>
                <a:cubicBezTo>
                  <a:pt x="1089660" y="571500"/>
                  <a:pt x="1082926" y="580124"/>
                  <a:pt x="1074420" y="586740"/>
                </a:cubicBezTo>
                <a:cubicBezTo>
                  <a:pt x="1059962" y="597985"/>
                  <a:pt x="1028700" y="617220"/>
                  <a:pt x="1028700" y="617220"/>
                </a:cubicBezTo>
                <a:cubicBezTo>
                  <a:pt x="1012075" y="667096"/>
                  <a:pt x="1035165" y="618144"/>
                  <a:pt x="998220" y="647700"/>
                </a:cubicBezTo>
                <a:cubicBezTo>
                  <a:pt x="991069" y="653421"/>
                  <a:pt x="989456" y="664084"/>
                  <a:pt x="982980" y="670560"/>
                </a:cubicBezTo>
                <a:cubicBezTo>
                  <a:pt x="976504" y="677036"/>
                  <a:pt x="966965" y="679716"/>
                  <a:pt x="960120" y="685800"/>
                </a:cubicBezTo>
                <a:cubicBezTo>
                  <a:pt x="881826" y="755394"/>
                  <a:pt x="943422" y="712172"/>
                  <a:pt x="891540" y="746760"/>
                </a:cubicBezTo>
                <a:cubicBezTo>
                  <a:pt x="853702" y="803517"/>
                  <a:pt x="902333" y="733808"/>
                  <a:pt x="853440" y="792480"/>
                </a:cubicBezTo>
                <a:cubicBezTo>
                  <a:pt x="847577" y="799515"/>
                  <a:pt x="844063" y="808305"/>
                  <a:pt x="838200" y="815340"/>
                </a:cubicBezTo>
                <a:cubicBezTo>
                  <a:pt x="831301" y="823619"/>
                  <a:pt x="822239" y="829921"/>
                  <a:pt x="815340" y="838200"/>
                </a:cubicBezTo>
                <a:cubicBezTo>
                  <a:pt x="809477" y="845235"/>
                  <a:pt x="805963" y="854025"/>
                  <a:pt x="800100" y="861060"/>
                </a:cubicBezTo>
                <a:cubicBezTo>
                  <a:pt x="793201" y="869339"/>
                  <a:pt x="783856" y="875414"/>
                  <a:pt x="777240" y="883920"/>
                </a:cubicBezTo>
                <a:cubicBezTo>
                  <a:pt x="765995" y="898378"/>
                  <a:pt x="759712" y="916688"/>
                  <a:pt x="746760" y="929640"/>
                </a:cubicBezTo>
                <a:cubicBezTo>
                  <a:pt x="739140" y="937260"/>
                  <a:pt x="730799" y="944221"/>
                  <a:pt x="723900" y="952500"/>
                </a:cubicBezTo>
                <a:cubicBezTo>
                  <a:pt x="718037" y="959535"/>
                  <a:pt x="715811" y="969639"/>
                  <a:pt x="708660" y="975360"/>
                </a:cubicBezTo>
                <a:cubicBezTo>
                  <a:pt x="702388" y="980378"/>
                  <a:pt x="693420" y="980440"/>
                  <a:pt x="685800" y="982980"/>
                </a:cubicBezTo>
                <a:cubicBezTo>
                  <a:pt x="678255" y="1005616"/>
                  <a:pt x="673433" y="1033447"/>
                  <a:pt x="655320" y="1051560"/>
                </a:cubicBezTo>
                <a:cubicBezTo>
                  <a:pt x="595380" y="1111500"/>
                  <a:pt x="672017" y="1014760"/>
                  <a:pt x="609600" y="1089660"/>
                </a:cubicBezTo>
                <a:cubicBezTo>
                  <a:pt x="603737" y="1096695"/>
                  <a:pt x="600223" y="1105485"/>
                  <a:pt x="594360" y="1112520"/>
                </a:cubicBezTo>
                <a:cubicBezTo>
                  <a:pt x="587461" y="1120799"/>
                  <a:pt x="578116" y="1126874"/>
                  <a:pt x="571500" y="1135380"/>
                </a:cubicBezTo>
                <a:cubicBezTo>
                  <a:pt x="507699" y="1217410"/>
                  <a:pt x="570059" y="1152061"/>
                  <a:pt x="518160" y="1203960"/>
                </a:cubicBezTo>
                <a:cubicBezTo>
                  <a:pt x="500042" y="1258315"/>
                  <a:pt x="525733" y="1192601"/>
                  <a:pt x="487680" y="1249680"/>
                </a:cubicBezTo>
                <a:cubicBezTo>
                  <a:pt x="464457" y="1284514"/>
                  <a:pt x="500743" y="1265646"/>
                  <a:pt x="457200" y="1280160"/>
                </a:cubicBezTo>
                <a:cubicBezTo>
                  <a:pt x="454660" y="1287780"/>
                  <a:pt x="454511" y="1296680"/>
                  <a:pt x="449580" y="1303020"/>
                </a:cubicBezTo>
                <a:cubicBezTo>
                  <a:pt x="424822" y="1334852"/>
                  <a:pt x="386995" y="1353616"/>
                  <a:pt x="373380" y="1394460"/>
                </a:cubicBezTo>
                <a:cubicBezTo>
                  <a:pt x="345590" y="1477830"/>
                  <a:pt x="389911" y="1351550"/>
                  <a:pt x="350520" y="1440180"/>
                </a:cubicBezTo>
                <a:cubicBezTo>
                  <a:pt x="343996" y="1454860"/>
                  <a:pt x="344191" y="1472534"/>
                  <a:pt x="335280" y="1485900"/>
                </a:cubicBezTo>
                <a:cubicBezTo>
                  <a:pt x="325120" y="1501140"/>
                  <a:pt x="310592" y="1514244"/>
                  <a:pt x="304800" y="1531620"/>
                </a:cubicBezTo>
                <a:cubicBezTo>
                  <a:pt x="302260" y="1539240"/>
                  <a:pt x="301081" y="1547459"/>
                  <a:pt x="297180" y="1554480"/>
                </a:cubicBezTo>
                <a:lnTo>
                  <a:pt x="251460" y="1623060"/>
                </a:lnTo>
                <a:lnTo>
                  <a:pt x="205740" y="1691640"/>
                </a:lnTo>
                <a:lnTo>
                  <a:pt x="190500" y="1714500"/>
                </a:lnTo>
                <a:cubicBezTo>
                  <a:pt x="185420" y="1722120"/>
                  <a:pt x="178156" y="1728672"/>
                  <a:pt x="175260" y="1737360"/>
                </a:cubicBezTo>
                <a:cubicBezTo>
                  <a:pt x="156107" y="1794819"/>
                  <a:pt x="181943" y="1723994"/>
                  <a:pt x="152400" y="1783080"/>
                </a:cubicBezTo>
                <a:cubicBezTo>
                  <a:pt x="148808" y="1790264"/>
                  <a:pt x="149235" y="1799257"/>
                  <a:pt x="144780" y="1805940"/>
                </a:cubicBezTo>
                <a:cubicBezTo>
                  <a:pt x="120854" y="1841829"/>
                  <a:pt x="123300" y="1814264"/>
                  <a:pt x="106680" y="1851660"/>
                </a:cubicBezTo>
                <a:lnTo>
                  <a:pt x="83820" y="1920240"/>
                </a:lnTo>
                <a:lnTo>
                  <a:pt x="68580" y="1965960"/>
                </a:lnTo>
                <a:cubicBezTo>
                  <a:pt x="66040" y="1973580"/>
                  <a:pt x="62908" y="1981028"/>
                  <a:pt x="60960" y="1988820"/>
                </a:cubicBezTo>
                <a:cubicBezTo>
                  <a:pt x="58420" y="1998980"/>
                  <a:pt x="56217" y="2009230"/>
                  <a:pt x="53340" y="2019300"/>
                </a:cubicBezTo>
                <a:cubicBezTo>
                  <a:pt x="51133" y="2027023"/>
                  <a:pt x="47462" y="2034319"/>
                  <a:pt x="45720" y="2042160"/>
                </a:cubicBezTo>
                <a:cubicBezTo>
                  <a:pt x="42368" y="2057242"/>
                  <a:pt x="41452" y="2072798"/>
                  <a:pt x="38100" y="2087880"/>
                </a:cubicBezTo>
                <a:cubicBezTo>
                  <a:pt x="36358" y="2095721"/>
                  <a:pt x="32428" y="2102948"/>
                  <a:pt x="30480" y="2110740"/>
                </a:cubicBezTo>
                <a:lnTo>
                  <a:pt x="15240" y="2171700"/>
                </a:lnTo>
                <a:cubicBezTo>
                  <a:pt x="12700" y="2189480"/>
                  <a:pt x="10833" y="2207369"/>
                  <a:pt x="7620" y="2225040"/>
                </a:cubicBezTo>
                <a:cubicBezTo>
                  <a:pt x="5747" y="2235344"/>
                  <a:pt x="0" y="2245047"/>
                  <a:pt x="0" y="2255520"/>
                </a:cubicBezTo>
                <a:cubicBezTo>
                  <a:pt x="0" y="2329224"/>
                  <a:pt x="3161" y="2402931"/>
                  <a:pt x="7620" y="2476500"/>
                </a:cubicBezTo>
                <a:cubicBezTo>
                  <a:pt x="8330" y="2488214"/>
                  <a:pt x="28504" y="2549736"/>
                  <a:pt x="30480" y="2552700"/>
                </a:cubicBezTo>
                <a:cubicBezTo>
                  <a:pt x="61884" y="2599805"/>
                  <a:pt x="27016" y="2553855"/>
                  <a:pt x="68580" y="2590800"/>
                </a:cubicBezTo>
                <a:cubicBezTo>
                  <a:pt x="84689" y="2605119"/>
                  <a:pt x="99060" y="2621280"/>
                  <a:pt x="114300" y="2636520"/>
                </a:cubicBezTo>
                <a:cubicBezTo>
                  <a:pt x="131152" y="2653372"/>
                  <a:pt x="138802" y="2664011"/>
                  <a:pt x="160020" y="2674620"/>
                </a:cubicBezTo>
                <a:cubicBezTo>
                  <a:pt x="167204" y="2678212"/>
                  <a:pt x="175696" y="2678648"/>
                  <a:pt x="182880" y="2682240"/>
                </a:cubicBezTo>
                <a:cubicBezTo>
                  <a:pt x="211259" y="2696429"/>
                  <a:pt x="203321" y="2699274"/>
                  <a:pt x="228600" y="2720340"/>
                </a:cubicBezTo>
                <a:cubicBezTo>
                  <a:pt x="261357" y="2747637"/>
                  <a:pt x="239953" y="2726017"/>
                  <a:pt x="274320" y="2743200"/>
                </a:cubicBezTo>
                <a:cubicBezTo>
                  <a:pt x="282511" y="2747296"/>
                  <a:pt x="288989" y="2754344"/>
                  <a:pt x="297180" y="2758440"/>
                </a:cubicBezTo>
                <a:cubicBezTo>
                  <a:pt x="304364" y="2762032"/>
                  <a:pt x="312856" y="2762468"/>
                  <a:pt x="320040" y="2766060"/>
                </a:cubicBezTo>
                <a:cubicBezTo>
                  <a:pt x="328231" y="2770156"/>
                  <a:pt x="334128" y="2778668"/>
                  <a:pt x="342900" y="2781300"/>
                </a:cubicBezTo>
                <a:cubicBezTo>
                  <a:pt x="360103" y="2786461"/>
                  <a:pt x="378569" y="2785707"/>
                  <a:pt x="396240" y="2788920"/>
                </a:cubicBezTo>
                <a:cubicBezTo>
                  <a:pt x="487517" y="2805516"/>
                  <a:pt x="376132" y="2787838"/>
                  <a:pt x="449580" y="2804160"/>
                </a:cubicBezTo>
                <a:cubicBezTo>
                  <a:pt x="464662" y="2807512"/>
                  <a:pt x="479895" y="2810595"/>
                  <a:pt x="495300" y="2811780"/>
                </a:cubicBezTo>
                <a:cubicBezTo>
                  <a:pt x="546014" y="2815681"/>
                  <a:pt x="596900" y="2816860"/>
                  <a:pt x="647700" y="2819400"/>
                </a:cubicBezTo>
                <a:lnTo>
                  <a:pt x="1173480" y="2811780"/>
                </a:lnTo>
                <a:cubicBezTo>
                  <a:pt x="1231941" y="2810509"/>
                  <a:pt x="1290505" y="2809454"/>
                  <a:pt x="1348740" y="2804160"/>
                </a:cubicBezTo>
                <a:cubicBezTo>
                  <a:pt x="1390650" y="2800350"/>
                  <a:pt x="1423035" y="2787015"/>
                  <a:pt x="1463040" y="2781300"/>
                </a:cubicBezTo>
                <a:cubicBezTo>
                  <a:pt x="1696629" y="2747930"/>
                  <a:pt x="1296858" y="2804474"/>
                  <a:pt x="1584960" y="2766060"/>
                </a:cubicBezTo>
                <a:cubicBezTo>
                  <a:pt x="1600275" y="2764018"/>
                  <a:pt x="1615598" y="2761792"/>
                  <a:pt x="1630680" y="2758440"/>
                </a:cubicBezTo>
                <a:cubicBezTo>
                  <a:pt x="1638521" y="2756698"/>
                  <a:pt x="1645617" y="2752140"/>
                  <a:pt x="1653540" y="2750820"/>
                </a:cubicBezTo>
                <a:cubicBezTo>
                  <a:pt x="1676228" y="2747039"/>
                  <a:pt x="1699277" y="2745887"/>
                  <a:pt x="1722120" y="2743200"/>
                </a:cubicBezTo>
                <a:lnTo>
                  <a:pt x="1783080" y="2735580"/>
                </a:lnTo>
                <a:cubicBezTo>
                  <a:pt x="1803418" y="2732868"/>
                  <a:pt x="1879340" y="2721289"/>
                  <a:pt x="1897380" y="2720340"/>
                </a:cubicBezTo>
                <a:cubicBezTo>
                  <a:pt x="1973517" y="2716333"/>
                  <a:pt x="2049780" y="2715260"/>
                  <a:pt x="2125980" y="2712720"/>
                </a:cubicBezTo>
                <a:cubicBezTo>
                  <a:pt x="2355833" y="2674411"/>
                  <a:pt x="2171909" y="2702282"/>
                  <a:pt x="2735580" y="2712720"/>
                </a:cubicBezTo>
                <a:cubicBezTo>
                  <a:pt x="2848013" y="2714802"/>
                  <a:pt x="3047158" y="2721499"/>
                  <a:pt x="3169920" y="2727960"/>
                </a:cubicBezTo>
                <a:cubicBezTo>
                  <a:pt x="3208052" y="2729967"/>
                  <a:pt x="3246157" y="2732535"/>
                  <a:pt x="3284220" y="2735580"/>
                </a:cubicBezTo>
                <a:cubicBezTo>
                  <a:pt x="3309665" y="2737616"/>
                  <a:pt x="3335034" y="2740528"/>
                  <a:pt x="3360420" y="2743200"/>
                </a:cubicBezTo>
                <a:cubicBezTo>
                  <a:pt x="3383294" y="2745608"/>
                  <a:pt x="3406073" y="2748986"/>
                  <a:pt x="3429000" y="2750820"/>
                </a:cubicBezTo>
                <a:cubicBezTo>
                  <a:pt x="3469590" y="2754067"/>
                  <a:pt x="3510291" y="2755731"/>
                  <a:pt x="3550920" y="2758440"/>
                </a:cubicBezTo>
                <a:lnTo>
                  <a:pt x="3657600" y="2766060"/>
                </a:lnTo>
                <a:cubicBezTo>
                  <a:pt x="3672840" y="2768600"/>
                  <a:pt x="3687926" y="2772361"/>
                  <a:pt x="3703320" y="2773680"/>
                </a:cubicBezTo>
                <a:cubicBezTo>
                  <a:pt x="3776885" y="2779986"/>
                  <a:pt x="3924300" y="2788920"/>
                  <a:pt x="3924300" y="2788920"/>
                </a:cubicBezTo>
                <a:cubicBezTo>
                  <a:pt x="4053840" y="2786380"/>
                  <a:pt x="4183534" y="2788110"/>
                  <a:pt x="4312920" y="2781300"/>
                </a:cubicBezTo>
                <a:cubicBezTo>
                  <a:pt x="4334200" y="2780180"/>
                  <a:pt x="4364160" y="2765270"/>
                  <a:pt x="4381500" y="2750820"/>
                </a:cubicBezTo>
                <a:cubicBezTo>
                  <a:pt x="4389779" y="2743921"/>
                  <a:pt x="4397461" y="2736239"/>
                  <a:pt x="4404360" y="2727960"/>
                </a:cubicBezTo>
                <a:cubicBezTo>
                  <a:pt x="4410223" y="2720925"/>
                  <a:pt x="4411834" y="2709954"/>
                  <a:pt x="4419600" y="2705100"/>
                </a:cubicBezTo>
                <a:cubicBezTo>
                  <a:pt x="4433223" y="2696586"/>
                  <a:pt x="4450080" y="2694940"/>
                  <a:pt x="4465320" y="2689860"/>
                </a:cubicBezTo>
                <a:cubicBezTo>
                  <a:pt x="4472940" y="2687320"/>
                  <a:pt x="4481497" y="2686695"/>
                  <a:pt x="4488180" y="2682240"/>
                </a:cubicBezTo>
                <a:cubicBezTo>
                  <a:pt x="4503420" y="2672080"/>
                  <a:pt x="4520948" y="2664712"/>
                  <a:pt x="4533900" y="2651760"/>
                </a:cubicBezTo>
                <a:cubicBezTo>
                  <a:pt x="4562440" y="2623220"/>
                  <a:pt x="4546537" y="2632308"/>
                  <a:pt x="4579620" y="2621280"/>
                </a:cubicBezTo>
                <a:cubicBezTo>
                  <a:pt x="4587240" y="2613660"/>
                  <a:pt x="4593514" y="2604398"/>
                  <a:pt x="4602480" y="2598420"/>
                </a:cubicBezTo>
                <a:cubicBezTo>
                  <a:pt x="4609163" y="2593965"/>
                  <a:pt x="4619068" y="2595818"/>
                  <a:pt x="4625340" y="2590800"/>
                </a:cubicBezTo>
                <a:cubicBezTo>
                  <a:pt x="4632491" y="2585079"/>
                  <a:pt x="4634717" y="2574975"/>
                  <a:pt x="4640580" y="2567940"/>
                </a:cubicBezTo>
                <a:cubicBezTo>
                  <a:pt x="4662534" y="2541596"/>
                  <a:pt x="4658126" y="2546851"/>
                  <a:pt x="4686300" y="2537460"/>
                </a:cubicBezTo>
                <a:cubicBezTo>
                  <a:pt x="4691380" y="2529840"/>
                  <a:pt x="4695064" y="2521076"/>
                  <a:pt x="4701540" y="2514600"/>
                </a:cubicBezTo>
                <a:cubicBezTo>
                  <a:pt x="4732655" y="2483485"/>
                  <a:pt x="4733290" y="2518410"/>
                  <a:pt x="4754880" y="2453640"/>
                </a:cubicBezTo>
                <a:cubicBezTo>
                  <a:pt x="4759960" y="2438400"/>
                  <a:pt x="4766224" y="2423505"/>
                  <a:pt x="4770120" y="2407920"/>
                </a:cubicBezTo>
                <a:cubicBezTo>
                  <a:pt x="4779688" y="2369648"/>
                  <a:pt x="4774428" y="2387375"/>
                  <a:pt x="4785360" y="2354580"/>
                </a:cubicBezTo>
                <a:cubicBezTo>
                  <a:pt x="4787900" y="2326640"/>
                  <a:pt x="4791283" y="2298764"/>
                  <a:pt x="4792980" y="2270760"/>
                </a:cubicBezTo>
                <a:cubicBezTo>
                  <a:pt x="4805660" y="2061532"/>
                  <a:pt x="4790200" y="2165520"/>
                  <a:pt x="4808220" y="2057400"/>
                </a:cubicBezTo>
                <a:cubicBezTo>
                  <a:pt x="4810760" y="1965960"/>
                  <a:pt x="4815840" y="1874555"/>
                  <a:pt x="4815840" y="1783080"/>
                </a:cubicBezTo>
                <a:cubicBezTo>
                  <a:pt x="4815840" y="1656055"/>
                  <a:pt x="4814782" y="1528936"/>
                  <a:pt x="4808220" y="1402080"/>
                </a:cubicBezTo>
                <a:cubicBezTo>
                  <a:pt x="4806274" y="1364453"/>
                  <a:pt x="4793759" y="1349055"/>
                  <a:pt x="4785360" y="1318260"/>
                </a:cubicBezTo>
                <a:cubicBezTo>
                  <a:pt x="4779849" y="1298053"/>
                  <a:pt x="4774228" y="1277839"/>
                  <a:pt x="4770120" y="1257300"/>
                </a:cubicBezTo>
                <a:cubicBezTo>
                  <a:pt x="4767222" y="1242809"/>
                  <a:pt x="4762690" y="1211961"/>
                  <a:pt x="4754880" y="1196340"/>
                </a:cubicBezTo>
                <a:cubicBezTo>
                  <a:pt x="4732616" y="1151812"/>
                  <a:pt x="4744789" y="1195311"/>
                  <a:pt x="4732020" y="1150620"/>
                </a:cubicBezTo>
                <a:cubicBezTo>
                  <a:pt x="4729143" y="1140550"/>
                  <a:pt x="4727409" y="1130171"/>
                  <a:pt x="4724400" y="1120140"/>
                </a:cubicBezTo>
                <a:cubicBezTo>
                  <a:pt x="4719784" y="1104753"/>
                  <a:pt x="4714240" y="1089660"/>
                  <a:pt x="4709160" y="1074420"/>
                </a:cubicBezTo>
                <a:cubicBezTo>
                  <a:pt x="4706620" y="1066800"/>
                  <a:pt x="4703488" y="1059352"/>
                  <a:pt x="4701540" y="1051560"/>
                </a:cubicBezTo>
                <a:cubicBezTo>
                  <a:pt x="4699000" y="1041400"/>
                  <a:pt x="4695974" y="1031349"/>
                  <a:pt x="4693920" y="1021080"/>
                </a:cubicBezTo>
                <a:cubicBezTo>
                  <a:pt x="4690890" y="1005930"/>
                  <a:pt x="4691186" y="990017"/>
                  <a:pt x="4686300" y="975360"/>
                </a:cubicBezTo>
                <a:cubicBezTo>
                  <a:pt x="4683404" y="966672"/>
                  <a:pt x="4675156" y="960691"/>
                  <a:pt x="4671060" y="952500"/>
                </a:cubicBezTo>
                <a:cubicBezTo>
                  <a:pt x="4639512" y="889404"/>
                  <a:pt x="4691876" y="972294"/>
                  <a:pt x="4648200" y="906780"/>
                </a:cubicBezTo>
                <a:cubicBezTo>
                  <a:pt x="4645660" y="896620"/>
                  <a:pt x="4643457" y="886370"/>
                  <a:pt x="4640580" y="876300"/>
                </a:cubicBezTo>
                <a:cubicBezTo>
                  <a:pt x="4638373" y="868577"/>
                  <a:pt x="4634096" y="861391"/>
                  <a:pt x="4632960" y="853440"/>
                </a:cubicBezTo>
                <a:cubicBezTo>
                  <a:pt x="4628992" y="825667"/>
                  <a:pt x="4627880" y="797560"/>
                  <a:pt x="4625340" y="769620"/>
                </a:cubicBezTo>
                <a:cubicBezTo>
                  <a:pt x="4627880" y="713740"/>
                  <a:pt x="4626295" y="657519"/>
                  <a:pt x="4632960" y="601980"/>
                </a:cubicBezTo>
                <a:cubicBezTo>
                  <a:pt x="4634051" y="592887"/>
                  <a:pt x="4644104" y="587311"/>
                  <a:pt x="4648200" y="579120"/>
                </a:cubicBezTo>
                <a:cubicBezTo>
                  <a:pt x="4651792" y="571936"/>
                  <a:pt x="4652228" y="563444"/>
                  <a:pt x="4655820" y="556260"/>
                </a:cubicBezTo>
                <a:cubicBezTo>
                  <a:pt x="4659916" y="548069"/>
                  <a:pt x="4667341" y="541769"/>
                  <a:pt x="4671060" y="533400"/>
                </a:cubicBezTo>
                <a:cubicBezTo>
                  <a:pt x="4677584" y="518720"/>
                  <a:pt x="4677389" y="501046"/>
                  <a:pt x="4686300" y="487680"/>
                </a:cubicBezTo>
                <a:cubicBezTo>
                  <a:pt x="4691380" y="480060"/>
                  <a:pt x="4697821" y="473189"/>
                  <a:pt x="4701540" y="464820"/>
                </a:cubicBezTo>
                <a:cubicBezTo>
                  <a:pt x="4708064" y="450140"/>
                  <a:pt x="4711700" y="434340"/>
                  <a:pt x="4716780" y="419100"/>
                </a:cubicBezTo>
                <a:cubicBezTo>
                  <a:pt x="4719320" y="411480"/>
                  <a:pt x="4719945" y="402923"/>
                  <a:pt x="4724400" y="396240"/>
                </a:cubicBezTo>
                <a:cubicBezTo>
                  <a:pt x="4734560" y="381000"/>
                  <a:pt x="4749088" y="367896"/>
                  <a:pt x="4754880" y="350520"/>
                </a:cubicBezTo>
                <a:cubicBezTo>
                  <a:pt x="4759960" y="335280"/>
                  <a:pt x="4761209" y="318166"/>
                  <a:pt x="4770120" y="304800"/>
                </a:cubicBezTo>
                <a:cubicBezTo>
                  <a:pt x="4789815" y="275257"/>
                  <a:pt x="4782464" y="290628"/>
                  <a:pt x="4792980" y="259080"/>
                </a:cubicBezTo>
                <a:cubicBezTo>
                  <a:pt x="4791278" y="238651"/>
                  <a:pt x="4793303" y="175906"/>
                  <a:pt x="4777740" y="144780"/>
                </a:cubicBezTo>
                <a:cubicBezTo>
                  <a:pt x="4773644" y="136589"/>
                  <a:pt x="4769651" y="127641"/>
                  <a:pt x="4762500" y="121920"/>
                </a:cubicBezTo>
                <a:cubicBezTo>
                  <a:pt x="4756228" y="116902"/>
                  <a:pt x="4747260" y="116840"/>
                  <a:pt x="4739640" y="114300"/>
                </a:cubicBezTo>
                <a:cubicBezTo>
                  <a:pt x="4737100" y="106680"/>
                  <a:pt x="4737700" y="97120"/>
                  <a:pt x="4732020" y="91440"/>
                </a:cubicBezTo>
                <a:cubicBezTo>
                  <a:pt x="4726340" y="85760"/>
                  <a:pt x="4716618" y="86803"/>
                  <a:pt x="4709160" y="83820"/>
                </a:cubicBezTo>
                <a:cubicBezTo>
                  <a:pt x="4703887" y="81711"/>
                  <a:pt x="4690110" y="76200"/>
                  <a:pt x="4678680" y="76200"/>
                </a:cubicBezTo>
                <a:close/>
              </a:path>
            </a:pathLst>
          </a:custGeom>
          <a:solidFill>
            <a:srgbClr val="FF0000">
              <a:alpha val="3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олилиния: фигура 1">
            <a:extLst>
              <a:ext uri="{FF2B5EF4-FFF2-40B4-BE49-F238E27FC236}">
                <a16:creationId xmlns="" xmlns:a16="http://schemas.microsoft.com/office/drawing/2014/main" id="{F55E1E99-70B6-4013-90F4-37C9E930DAC6}"/>
              </a:ext>
            </a:extLst>
          </p:cNvPr>
          <p:cNvSpPr/>
          <p:nvPr/>
        </p:nvSpPr>
        <p:spPr>
          <a:xfrm>
            <a:off x="4450080" y="1554480"/>
            <a:ext cx="4594860" cy="2933700"/>
          </a:xfrm>
          <a:custGeom>
            <a:avLst/>
            <a:gdLst>
              <a:gd name="connsiteX0" fmla="*/ 624840 w 4594860"/>
              <a:gd name="connsiteY0" fmla="*/ 121920 h 2933700"/>
              <a:gd name="connsiteX1" fmla="*/ 541020 w 4594860"/>
              <a:gd name="connsiteY1" fmla="*/ 152400 h 2933700"/>
              <a:gd name="connsiteX2" fmla="*/ 518160 w 4594860"/>
              <a:gd name="connsiteY2" fmla="*/ 160020 h 2933700"/>
              <a:gd name="connsiteX3" fmla="*/ 472440 w 4594860"/>
              <a:gd name="connsiteY3" fmla="*/ 198120 h 2933700"/>
              <a:gd name="connsiteX4" fmla="*/ 449580 w 4594860"/>
              <a:gd name="connsiteY4" fmla="*/ 205740 h 2933700"/>
              <a:gd name="connsiteX5" fmla="*/ 426720 w 4594860"/>
              <a:gd name="connsiteY5" fmla="*/ 228600 h 2933700"/>
              <a:gd name="connsiteX6" fmla="*/ 381000 w 4594860"/>
              <a:gd name="connsiteY6" fmla="*/ 259080 h 2933700"/>
              <a:gd name="connsiteX7" fmla="*/ 350520 w 4594860"/>
              <a:gd name="connsiteY7" fmla="*/ 304800 h 2933700"/>
              <a:gd name="connsiteX8" fmla="*/ 342900 w 4594860"/>
              <a:gd name="connsiteY8" fmla="*/ 327660 h 2933700"/>
              <a:gd name="connsiteX9" fmla="*/ 312420 w 4594860"/>
              <a:gd name="connsiteY9" fmla="*/ 373380 h 2933700"/>
              <a:gd name="connsiteX10" fmla="*/ 297180 w 4594860"/>
              <a:gd name="connsiteY10" fmla="*/ 396240 h 2933700"/>
              <a:gd name="connsiteX11" fmla="*/ 289560 w 4594860"/>
              <a:gd name="connsiteY11" fmla="*/ 419100 h 2933700"/>
              <a:gd name="connsiteX12" fmla="*/ 266700 w 4594860"/>
              <a:gd name="connsiteY12" fmla="*/ 434340 h 2933700"/>
              <a:gd name="connsiteX13" fmla="*/ 228600 w 4594860"/>
              <a:gd name="connsiteY13" fmla="*/ 472440 h 2933700"/>
              <a:gd name="connsiteX14" fmla="*/ 190500 w 4594860"/>
              <a:gd name="connsiteY14" fmla="*/ 510540 h 2933700"/>
              <a:gd name="connsiteX15" fmla="*/ 182880 w 4594860"/>
              <a:gd name="connsiteY15" fmla="*/ 533400 h 2933700"/>
              <a:gd name="connsiteX16" fmla="*/ 160020 w 4594860"/>
              <a:gd name="connsiteY16" fmla="*/ 548640 h 2933700"/>
              <a:gd name="connsiteX17" fmla="*/ 137160 w 4594860"/>
              <a:gd name="connsiteY17" fmla="*/ 571500 h 2933700"/>
              <a:gd name="connsiteX18" fmla="*/ 99060 w 4594860"/>
              <a:gd name="connsiteY18" fmla="*/ 617220 h 2933700"/>
              <a:gd name="connsiteX19" fmla="*/ 68580 w 4594860"/>
              <a:gd name="connsiteY19" fmla="*/ 685800 h 2933700"/>
              <a:gd name="connsiteX20" fmla="*/ 45720 w 4594860"/>
              <a:gd name="connsiteY20" fmla="*/ 693420 h 2933700"/>
              <a:gd name="connsiteX21" fmla="*/ 22860 w 4594860"/>
              <a:gd name="connsiteY21" fmla="*/ 762000 h 2933700"/>
              <a:gd name="connsiteX22" fmla="*/ 15240 w 4594860"/>
              <a:gd name="connsiteY22" fmla="*/ 784860 h 2933700"/>
              <a:gd name="connsiteX23" fmla="*/ 7620 w 4594860"/>
              <a:gd name="connsiteY23" fmla="*/ 861060 h 2933700"/>
              <a:gd name="connsiteX24" fmla="*/ 0 w 4594860"/>
              <a:gd name="connsiteY24" fmla="*/ 883920 h 2933700"/>
              <a:gd name="connsiteX25" fmla="*/ 7620 w 4594860"/>
              <a:gd name="connsiteY25" fmla="*/ 1013460 h 2933700"/>
              <a:gd name="connsiteX26" fmla="*/ 38100 w 4594860"/>
              <a:gd name="connsiteY26" fmla="*/ 1082040 h 2933700"/>
              <a:gd name="connsiteX27" fmla="*/ 60960 w 4594860"/>
              <a:gd name="connsiteY27" fmla="*/ 1127760 h 2933700"/>
              <a:gd name="connsiteX28" fmla="*/ 83820 w 4594860"/>
              <a:gd name="connsiteY28" fmla="*/ 1150620 h 2933700"/>
              <a:gd name="connsiteX29" fmla="*/ 114300 w 4594860"/>
              <a:gd name="connsiteY29" fmla="*/ 1196340 h 2933700"/>
              <a:gd name="connsiteX30" fmla="*/ 160020 w 4594860"/>
              <a:gd name="connsiteY30" fmla="*/ 1234440 h 2933700"/>
              <a:gd name="connsiteX31" fmla="*/ 190500 w 4594860"/>
              <a:gd name="connsiteY31" fmla="*/ 1280160 h 2933700"/>
              <a:gd name="connsiteX32" fmla="*/ 205740 w 4594860"/>
              <a:gd name="connsiteY32" fmla="*/ 1303020 h 2933700"/>
              <a:gd name="connsiteX33" fmla="*/ 213360 w 4594860"/>
              <a:gd name="connsiteY33" fmla="*/ 1325880 h 2933700"/>
              <a:gd name="connsiteX34" fmla="*/ 243840 w 4594860"/>
              <a:gd name="connsiteY34" fmla="*/ 1371600 h 2933700"/>
              <a:gd name="connsiteX35" fmla="*/ 259080 w 4594860"/>
              <a:gd name="connsiteY35" fmla="*/ 1394460 h 2933700"/>
              <a:gd name="connsiteX36" fmla="*/ 274320 w 4594860"/>
              <a:gd name="connsiteY36" fmla="*/ 1417320 h 2933700"/>
              <a:gd name="connsiteX37" fmla="*/ 289560 w 4594860"/>
              <a:gd name="connsiteY37" fmla="*/ 1463040 h 2933700"/>
              <a:gd name="connsiteX38" fmla="*/ 312420 w 4594860"/>
              <a:gd name="connsiteY38" fmla="*/ 1508760 h 2933700"/>
              <a:gd name="connsiteX39" fmla="*/ 335280 w 4594860"/>
              <a:gd name="connsiteY39" fmla="*/ 1623060 h 2933700"/>
              <a:gd name="connsiteX40" fmla="*/ 342900 w 4594860"/>
              <a:gd name="connsiteY40" fmla="*/ 2263140 h 2933700"/>
              <a:gd name="connsiteX41" fmla="*/ 350520 w 4594860"/>
              <a:gd name="connsiteY41" fmla="*/ 2286000 h 2933700"/>
              <a:gd name="connsiteX42" fmla="*/ 365760 w 4594860"/>
              <a:gd name="connsiteY42" fmla="*/ 2308860 h 2933700"/>
              <a:gd name="connsiteX43" fmla="*/ 396240 w 4594860"/>
              <a:gd name="connsiteY43" fmla="*/ 2354580 h 2933700"/>
              <a:gd name="connsiteX44" fmla="*/ 426720 w 4594860"/>
              <a:gd name="connsiteY44" fmla="*/ 2392680 h 2933700"/>
              <a:gd name="connsiteX45" fmla="*/ 464820 w 4594860"/>
              <a:gd name="connsiteY45" fmla="*/ 2423160 h 2933700"/>
              <a:gd name="connsiteX46" fmla="*/ 510540 w 4594860"/>
              <a:gd name="connsiteY46" fmla="*/ 2468880 h 2933700"/>
              <a:gd name="connsiteX47" fmla="*/ 556260 w 4594860"/>
              <a:gd name="connsiteY47" fmla="*/ 2491740 h 2933700"/>
              <a:gd name="connsiteX48" fmla="*/ 586740 w 4594860"/>
              <a:gd name="connsiteY48" fmla="*/ 2522220 h 2933700"/>
              <a:gd name="connsiteX49" fmla="*/ 647700 w 4594860"/>
              <a:gd name="connsiteY49" fmla="*/ 2537460 h 2933700"/>
              <a:gd name="connsiteX50" fmla="*/ 670560 w 4594860"/>
              <a:gd name="connsiteY50" fmla="*/ 2545080 h 2933700"/>
              <a:gd name="connsiteX51" fmla="*/ 723900 w 4594860"/>
              <a:gd name="connsiteY51" fmla="*/ 2567940 h 2933700"/>
              <a:gd name="connsiteX52" fmla="*/ 822960 w 4594860"/>
              <a:gd name="connsiteY52" fmla="*/ 2583180 h 2933700"/>
              <a:gd name="connsiteX53" fmla="*/ 853440 w 4594860"/>
              <a:gd name="connsiteY53" fmla="*/ 2590800 h 2933700"/>
              <a:gd name="connsiteX54" fmla="*/ 876300 w 4594860"/>
              <a:gd name="connsiteY54" fmla="*/ 2598420 h 2933700"/>
              <a:gd name="connsiteX55" fmla="*/ 952500 w 4594860"/>
              <a:gd name="connsiteY55" fmla="*/ 2613660 h 2933700"/>
              <a:gd name="connsiteX56" fmla="*/ 998220 w 4594860"/>
              <a:gd name="connsiteY56" fmla="*/ 2628900 h 2933700"/>
              <a:gd name="connsiteX57" fmla="*/ 1066800 w 4594860"/>
              <a:gd name="connsiteY57" fmla="*/ 2636520 h 2933700"/>
              <a:gd name="connsiteX58" fmla="*/ 1143000 w 4594860"/>
              <a:gd name="connsiteY58" fmla="*/ 2659380 h 2933700"/>
              <a:gd name="connsiteX59" fmla="*/ 1249680 w 4594860"/>
              <a:gd name="connsiteY59" fmla="*/ 2667000 h 2933700"/>
              <a:gd name="connsiteX60" fmla="*/ 1272540 w 4594860"/>
              <a:gd name="connsiteY60" fmla="*/ 2674620 h 2933700"/>
              <a:gd name="connsiteX61" fmla="*/ 1303020 w 4594860"/>
              <a:gd name="connsiteY61" fmla="*/ 2682240 h 2933700"/>
              <a:gd name="connsiteX62" fmla="*/ 1341120 w 4594860"/>
              <a:gd name="connsiteY62" fmla="*/ 2697480 h 2933700"/>
              <a:gd name="connsiteX63" fmla="*/ 1371600 w 4594860"/>
              <a:gd name="connsiteY63" fmla="*/ 2705100 h 2933700"/>
              <a:gd name="connsiteX64" fmla="*/ 1409700 w 4594860"/>
              <a:gd name="connsiteY64" fmla="*/ 2720340 h 2933700"/>
              <a:gd name="connsiteX65" fmla="*/ 1524000 w 4594860"/>
              <a:gd name="connsiteY65" fmla="*/ 2743200 h 2933700"/>
              <a:gd name="connsiteX66" fmla="*/ 1569720 w 4594860"/>
              <a:gd name="connsiteY66" fmla="*/ 2758440 h 2933700"/>
              <a:gd name="connsiteX67" fmla="*/ 1600200 w 4594860"/>
              <a:gd name="connsiteY67" fmla="*/ 2766060 h 2933700"/>
              <a:gd name="connsiteX68" fmla="*/ 1661160 w 4594860"/>
              <a:gd name="connsiteY68" fmla="*/ 2804160 h 2933700"/>
              <a:gd name="connsiteX69" fmla="*/ 1691640 w 4594860"/>
              <a:gd name="connsiteY69" fmla="*/ 2811780 h 2933700"/>
              <a:gd name="connsiteX70" fmla="*/ 1752600 w 4594860"/>
              <a:gd name="connsiteY70" fmla="*/ 2842260 h 2933700"/>
              <a:gd name="connsiteX71" fmla="*/ 1775460 w 4594860"/>
              <a:gd name="connsiteY71" fmla="*/ 2865120 h 2933700"/>
              <a:gd name="connsiteX72" fmla="*/ 1859280 w 4594860"/>
              <a:gd name="connsiteY72" fmla="*/ 2887980 h 2933700"/>
              <a:gd name="connsiteX73" fmla="*/ 1882140 w 4594860"/>
              <a:gd name="connsiteY73" fmla="*/ 2895600 h 2933700"/>
              <a:gd name="connsiteX74" fmla="*/ 2019300 w 4594860"/>
              <a:gd name="connsiteY74" fmla="*/ 2926080 h 2933700"/>
              <a:gd name="connsiteX75" fmla="*/ 2316480 w 4594860"/>
              <a:gd name="connsiteY75" fmla="*/ 2910840 h 2933700"/>
              <a:gd name="connsiteX76" fmla="*/ 2430780 w 4594860"/>
              <a:gd name="connsiteY76" fmla="*/ 2895600 h 2933700"/>
              <a:gd name="connsiteX77" fmla="*/ 2468880 w 4594860"/>
              <a:gd name="connsiteY77" fmla="*/ 2887980 h 2933700"/>
              <a:gd name="connsiteX78" fmla="*/ 2499360 w 4594860"/>
              <a:gd name="connsiteY78" fmla="*/ 2880360 h 2933700"/>
              <a:gd name="connsiteX79" fmla="*/ 3093720 w 4594860"/>
              <a:gd name="connsiteY79" fmla="*/ 2865120 h 2933700"/>
              <a:gd name="connsiteX80" fmla="*/ 3703320 w 4594860"/>
              <a:gd name="connsiteY80" fmla="*/ 2872740 h 2933700"/>
              <a:gd name="connsiteX81" fmla="*/ 3810000 w 4594860"/>
              <a:gd name="connsiteY81" fmla="*/ 2895600 h 2933700"/>
              <a:gd name="connsiteX82" fmla="*/ 3855720 w 4594860"/>
              <a:gd name="connsiteY82" fmla="*/ 2910840 h 2933700"/>
              <a:gd name="connsiteX83" fmla="*/ 4000500 w 4594860"/>
              <a:gd name="connsiteY83" fmla="*/ 2918460 h 2933700"/>
              <a:gd name="connsiteX84" fmla="*/ 4046220 w 4594860"/>
              <a:gd name="connsiteY84" fmla="*/ 2926080 h 2933700"/>
              <a:gd name="connsiteX85" fmla="*/ 4076700 w 4594860"/>
              <a:gd name="connsiteY85" fmla="*/ 2933700 h 2933700"/>
              <a:gd name="connsiteX86" fmla="*/ 4259580 w 4594860"/>
              <a:gd name="connsiteY86" fmla="*/ 2926080 h 2933700"/>
              <a:gd name="connsiteX87" fmla="*/ 4305300 w 4594860"/>
              <a:gd name="connsiteY87" fmla="*/ 2910840 h 2933700"/>
              <a:gd name="connsiteX88" fmla="*/ 4335780 w 4594860"/>
              <a:gd name="connsiteY88" fmla="*/ 2887980 h 2933700"/>
              <a:gd name="connsiteX89" fmla="*/ 4404360 w 4594860"/>
              <a:gd name="connsiteY89" fmla="*/ 2849880 h 2933700"/>
              <a:gd name="connsiteX90" fmla="*/ 4442460 w 4594860"/>
              <a:gd name="connsiteY90" fmla="*/ 2834640 h 2933700"/>
              <a:gd name="connsiteX91" fmla="*/ 4488180 w 4594860"/>
              <a:gd name="connsiteY91" fmla="*/ 2796540 h 2933700"/>
              <a:gd name="connsiteX92" fmla="*/ 4533900 w 4594860"/>
              <a:gd name="connsiteY92" fmla="*/ 2766060 h 2933700"/>
              <a:gd name="connsiteX93" fmla="*/ 4541520 w 4594860"/>
              <a:gd name="connsiteY93" fmla="*/ 2743200 h 2933700"/>
              <a:gd name="connsiteX94" fmla="*/ 4579620 w 4594860"/>
              <a:gd name="connsiteY94" fmla="*/ 2674620 h 2933700"/>
              <a:gd name="connsiteX95" fmla="*/ 4594860 w 4594860"/>
              <a:gd name="connsiteY95" fmla="*/ 2583180 h 2933700"/>
              <a:gd name="connsiteX96" fmla="*/ 4564380 w 4594860"/>
              <a:gd name="connsiteY96" fmla="*/ 2407920 h 2933700"/>
              <a:gd name="connsiteX97" fmla="*/ 4549140 w 4594860"/>
              <a:gd name="connsiteY97" fmla="*/ 2339340 h 2933700"/>
              <a:gd name="connsiteX98" fmla="*/ 4541520 w 4594860"/>
              <a:gd name="connsiteY98" fmla="*/ 2293620 h 2933700"/>
              <a:gd name="connsiteX99" fmla="*/ 4526280 w 4594860"/>
              <a:gd name="connsiteY99" fmla="*/ 2247900 h 2933700"/>
              <a:gd name="connsiteX100" fmla="*/ 4511040 w 4594860"/>
              <a:gd name="connsiteY100" fmla="*/ 2202180 h 2933700"/>
              <a:gd name="connsiteX101" fmla="*/ 4503420 w 4594860"/>
              <a:gd name="connsiteY101" fmla="*/ 2179320 h 2933700"/>
              <a:gd name="connsiteX102" fmla="*/ 4488180 w 4594860"/>
              <a:gd name="connsiteY102" fmla="*/ 2148840 h 2933700"/>
              <a:gd name="connsiteX103" fmla="*/ 4465320 w 4594860"/>
              <a:gd name="connsiteY103" fmla="*/ 2072640 h 2933700"/>
              <a:gd name="connsiteX104" fmla="*/ 4450080 w 4594860"/>
              <a:gd name="connsiteY104" fmla="*/ 2049780 h 2933700"/>
              <a:gd name="connsiteX105" fmla="*/ 4442460 w 4594860"/>
              <a:gd name="connsiteY105" fmla="*/ 2011680 h 2933700"/>
              <a:gd name="connsiteX106" fmla="*/ 4411980 w 4594860"/>
              <a:gd name="connsiteY106" fmla="*/ 1943100 h 2933700"/>
              <a:gd name="connsiteX107" fmla="*/ 4358640 w 4594860"/>
              <a:gd name="connsiteY107" fmla="*/ 1866900 h 2933700"/>
              <a:gd name="connsiteX108" fmla="*/ 4335780 w 4594860"/>
              <a:gd name="connsiteY108" fmla="*/ 1859280 h 2933700"/>
              <a:gd name="connsiteX109" fmla="*/ 4236720 w 4594860"/>
              <a:gd name="connsiteY109" fmla="*/ 1744980 h 2933700"/>
              <a:gd name="connsiteX110" fmla="*/ 4213860 w 4594860"/>
              <a:gd name="connsiteY110" fmla="*/ 1714500 h 2933700"/>
              <a:gd name="connsiteX111" fmla="*/ 4183380 w 4594860"/>
              <a:gd name="connsiteY111" fmla="*/ 1645920 h 2933700"/>
              <a:gd name="connsiteX112" fmla="*/ 4175760 w 4594860"/>
              <a:gd name="connsiteY112" fmla="*/ 1584960 h 2933700"/>
              <a:gd name="connsiteX113" fmla="*/ 4168140 w 4594860"/>
              <a:gd name="connsiteY113" fmla="*/ 1554480 h 2933700"/>
              <a:gd name="connsiteX114" fmla="*/ 4160520 w 4594860"/>
              <a:gd name="connsiteY114" fmla="*/ 1516380 h 2933700"/>
              <a:gd name="connsiteX115" fmla="*/ 4152900 w 4594860"/>
              <a:gd name="connsiteY115" fmla="*/ 1485900 h 2933700"/>
              <a:gd name="connsiteX116" fmla="*/ 4145280 w 4594860"/>
              <a:gd name="connsiteY116" fmla="*/ 1440180 h 2933700"/>
              <a:gd name="connsiteX117" fmla="*/ 4137660 w 4594860"/>
              <a:gd name="connsiteY117" fmla="*/ 967740 h 2933700"/>
              <a:gd name="connsiteX118" fmla="*/ 4122420 w 4594860"/>
              <a:gd name="connsiteY118" fmla="*/ 937260 h 2933700"/>
              <a:gd name="connsiteX119" fmla="*/ 4114800 w 4594860"/>
              <a:gd name="connsiteY119" fmla="*/ 914400 h 2933700"/>
              <a:gd name="connsiteX120" fmla="*/ 4038600 w 4594860"/>
              <a:gd name="connsiteY120" fmla="*/ 830580 h 2933700"/>
              <a:gd name="connsiteX121" fmla="*/ 4015740 w 4594860"/>
              <a:gd name="connsiteY121" fmla="*/ 815340 h 2933700"/>
              <a:gd name="connsiteX122" fmla="*/ 3992880 w 4594860"/>
              <a:gd name="connsiteY122" fmla="*/ 792480 h 2933700"/>
              <a:gd name="connsiteX123" fmla="*/ 3954780 w 4594860"/>
              <a:gd name="connsiteY123" fmla="*/ 777240 h 2933700"/>
              <a:gd name="connsiteX124" fmla="*/ 3931920 w 4594860"/>
              <a:gd name="connsiteY124" fmla="*/ 762000 h 2933700"/>
              <a:gd name="connsiteX125" fmla="*/ 3840480 w 4594860"/>
              <a:gd name="connsiteY125" fmla="*/ 739140 h 2933700"/>
              <a:gd name="connsiteX126" fmla="*/ 3810000 w 4594860"/>
              <a:gd name="connsiteY126" fmla="*/ 731520 h 2933700"/>
              <a:gd name="connsiteX127" fmla="*/ 3596640 w 4594860"/>
              <a:gd name="connsiteY127" fmla="*/ 716280 h 2933700"/>
              <a:gd name="connsiteX128" fmla="*/ 3528060 w 4594860"/>
              <a:gd name="connsiteY128" fmla="*/ 678180 h 2933700"/>
              <a:gd name="connsiteX129" fmla="*/ 3474720 w 4594860"/>
              <a:gd name="connsiteY129" fmla="*/ 655320 h 2933700"/>
              <a:gd name="connsiteX130" fmla="*/ 3383280 w 4594860"/>
              <a:gd name="connsiteY130" fmla="*/ 632460 h 2933700"/>
              <a:gd name="connsiteX131" fmla="*/ 3329940 w 4594860"/>
              <a:gd name="connsiteY131" fmla="*/ 609600 h 2933700"/>
              <a:gd name="connsiteX132" fmla="*/ 3307080 w 4594860"/>
              <a:gd name="connsiteY132" fmla="*/ 594360 h 2933700"/>
              <a:gd name="connsiteX133" fmla="*/ 3261360 w 4594860"/>
              <a:gd name="connsiteY133" fmla="*/ 586740 h 2933700"/>
              <a:gd name="connsiteX134" fmla="*/ 3070860 w 4594860"/>
              <a:gd name="connsiteY134" fmla="*/ 510540 h 2933700"/>
              <a:gd name="connsiteX135" fmla="*/ 3025140 w 4594860"/>
              <a:gd name="connsiteY135" fmla="*/ 487680 h 2933700"/>
              <a:gd name="connsiteX136" fmla="*/ 2880360 w 4594860"/>
              <a:gd name="connsiteY136" fmla="*/ 419100 h 2933700"/>
              <a:gd name="connsiteX137" fmla="*/ 2781300 w 4594860"/>
              <a:gd name="connsiteY137" fmla="*/ 342900 h 2933700"/>
              <a:gd name="connsiteX138" fmla="*/ 2689860 w 4594860"/>
              <a:gd name="connsiteY138" fmla="*/ 304800 h 2933700"/>
              <a:gd name="connsiteX139" fmla="*/ 2621280 w 4594860"/>
              <a:gd name="connsiteY139" fmla="*/ 236220 h 2933700"/>
              <a:gd name="connsiteX140" fmla="*/ 2552700 w 4594860"/>
              <a:gd name="connsiteY140" fmla="*/ 160020 h 2933700"/>
              <a:gd name="connsiteX141" fmla="*/ 2484120 w 4594860"/>
              <a:gd name="connsiteY141" fmla="*/ 121920 h 2933700"/>
              <a:gd name="connsiteX142" fmla="*/ 2461260 w 4594860"/>
              <a:gd name="connsiteY142" fmla="*/ 106680 h 2933700"/>
              <a:gd name="connsiteX143" fmla="*/ 2430780 w 4594860"/>
              <a:gd name="connsiteY143" fmla="*/ 83820 h 2933700"/>
              <a:gd name="connsiteX144" fmla="*/ 2385060 w 4594860"/>
              <a:gd name="connsiteY144" fmla="*/ 68580 h 2933700"/>
              <a:gd name="connsiteX145" fmla="*/ 2354580 w 4594860"/>
              <a:gd name="connsiteY145" fmla="*/ 53340 h 2933700"/>
              <a:gd name="connsiteX146" fmla="*/ 2278380 w 4594860"/>
              <a:gd name="connsiteY146" fmla="*/ 45720 h 2933700"/>
              <a:gd name="connsiteX147" fmla="*/ 2217420 w 4594860"/>
              <a:gd name="connsiteY147" fmla="*/ 30480 h 2933700"/>
              <a:gd name="connsiteX148" fmla="*/ 2156460 w 4594860"/>
              <a:gd name="connsiteY148" fmla="*/ 22860 h 2933700"/>
              <a:gd name="connsiteX149" fmla="*/ 2110740 w 4594860"/>
              <a:gd name="connsiteY149" fmla="*/ 7620 h 2933700"/>
              <a:gd name="connsiteX150" fmla="*/ 2080260 w 4594860"/>
              <a:gd name="connsiteY150" fmla="*/ 0 h 2933700"/>
              <a:gd name="connsiteX151" fmla="*/ 1821180 w 4594860"/>
              <a:gd name="connsiteY151" fmla="*/ 7620 h 2933700"/>
              <a:gd name="connsiteX152" fmla="*/ 1783080 w 4594860"/>
              <a:gd name="connsiteY152" fmla="*/ 15240 h 2933700"/>
              <a:gd name="connsiteX153" fmla="*/ 1729740 w 4594860"/>
              <a:gd name="connsiteY153" fmla="*/ 22860 h 2933700"/>
              <a:gd name="connsiteX154" fmla="*/ 1684020 w 4594860"/>
              <a:gd name="connsiteY154" fmla="*/ 30480 h 2933700"/>
              <a:gd name="connsiteX155" fmla="*/ 1623060 w 4594860"/>
              <a:gd name="connsiteY155" fmla="*/ 60960 h 2933700"/>
              <a:gd name="connsiteX156" fmla="*/ 1600200 w 4594860"/>
              <a:gd name="connsiteY156" fmla="*/ 76200 h 2933700"/>
              <a:gd name="connsiteX157" fmla="*/ 1562100 w 4594860"/>
              <a:gd name="connsiteY157" fmla="*/ 83820 h 2933700"/>
              <a:gd name="connsiteX158" fmla="*/ 1516380 w 4594860"/>
              <a:gd name="connsiteY158" fmla="*/ 99060 h 2933700"/>
              <a:gd name="connsiteX159" fmla="*/ 1463040 w 4594860"/>
              <a:gd name="connsiteY159" fmla="*/ 114300 h 2933700"/>
              <a:gd name="connsiteX160" fmla="*/ 1432560 w 4594860"/>
              <a:gd name="connsiteY160" fmla="*/ 121920 h 2933700"/>
              <a:gd name="connsiteX161" fmla="*/ 1402080 w 4594860"/>
              <a:gd name="connsiteY161" fmla="*/ 137160 h 2933700"/>
              <a:gd name="connsiteX162" fmla="*/ 1356360 w 4594860"/>
              <a:gd name="connsiteY162" fmla="*/ 144780 h 2933700"/>
              <a:gd name="connsiteX163" fmla="*/ 1242060 w 4594860"/>
              <a:gd name="connsiteY163" fmla="*/ 175260 h 2933700"/>
              <a:gd name="connsiteX164" fmla="*/ 1089660 w 4594860"/>
              <a:gd name="connsiteY164" fmla="*/ 167640 h 2933700"/>
              <a:gd name="connsiteX165" fmla="*/ 1066800 w 4594860"/>
              <a:gd name="connsiteY165" fmla="*/ 160020 h 2933700"/>
              <a:gd name="connsiteX166" fmla="*/ 1036320 w 4594860"/>
              <a:gd name="connsiteY166" fmla="*/ 152400 h 2933700"/>
              <a:gd name="connsiteX167" fmla="*/ 990600 w 4594860"/>
              <a:gd name="connsiteY167" fmla="*/ 121920 h 2933700"/>
              <a:gd name="connsiteX168" fmla="*/ 967740 w 4594860"/>
              <a:gd name="connsiteY168" fmla="*/ 114300 h 2933700"/>
              <a:gd name="connsiteX169" fmla="*/ 944880 w 4594860"/>
              <a:gd name="connsiteY169" fmla="*/ 99060 h 2933700"/>
              <a:gd name="connsiteX170" fmla="*/ 899160 w 4594860"/>
              <a:gd name="connsiteY170" fmla="*/ 83820 h 2933700"/>
              <a:gd name="connsiteX171" fmla="*/ 647700 w 4594860"/>
              <a:gd name="connsiteY171" fmla="*/ 106680 h 2933700"/>
              <a:gd name="connsiteX172" fmla="*/ 624840 w 4594860"/>
              <a:gd name="connsiteY172" fmla="*/ 121920 h 293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</a:cxnLst>
            <a:rect l="l" t="t" r="r" b="b"/>
            <a:pathLst>
              <a:path w="4594860" h="2933700">
                <a:moveTo>
                  <a:pt x="624840" y="121920"/>
                </a:moveTo>
                <a:cubicBezTo>
                  <a:pt x="571825" y="143126"/>
                  <a:pt x="599716" y="132835"/>
                  <a:pt x="541020" y="152400"/>
                </a:cubicBezTo>
                <a:lnTo>
                  <a:pt x="518160" y="160020"/>
                </a:lnTo>
                <a:cubicBezTo>
                  <a:pt x="501308" y="176872"/>
                  <a:pt x="493658" y="187511"/>
                  <a:pt x="472440" y="198120"/>
                </a:cubicBezTo>
                <a:cubicBezTo>
                  <a:pt x="465256" y="201712"/>
                  <a:pt x="457200" y="203200"/>
                  <a:pt x="449580" y="205740"/>
                </a:cubicBezTo>
                <a:cubicBezTo>
                  <a:pt x="441960" y="213360"/>
                  <a:pt x="435226" y="221984"/>
                  <a:pt x="426720" y="228600"/>
                </a:cubicBezTo>
                <a:cubicBezTo>
                  <a:pt x="412262" y="239845"/>
                  <a:pt x="381000" y="259080"/>
                  <a:pt x="381000" y="259080"/>
                </a:cubicBezTo>
                <a:cubicBezTo>
                  <a:pt x="370840" y="274320"/>
                  <a:pt x="356312" y="287424"/>
                  <a:pt x="350520" y="304800"/>
                </a:cubicBezTo>
                <a:cubicBezTo>
                  <a:pt x="347980" y="312420"/>
                  <a:pt x="346801" y="320639"/>
                  <a:pt x="342900" y="327660"/>
                </a:cubicBezTo>
                <a:cubicBezTo>
                  <a:pt x="334005" y="343671"/>
                  <a:pt x="322580" y="358140"/>
                  <a:pt x="312420" y="373380"/>
                </a:cubicBezTo>
                <a:cubicBezTo>
                  <a:pt x="307340" y="381000"/>
                  <a:pt x="300076" y="387552"/>
                  <a:pt x="297180" y="396240"/>
                </a:cubicBezTo>
                <a:cubicBezTo>
                  <a:pt x="294640" y="403860"/>
                  <a:pt x="294578" y="412828"/>
                  <a:pt x="289560" y="419100"/>
                </a:cubicBezTo>
                <a:cubicBezTo>
                  <a:pt x="283839" y="426251"/>
                  <a:pt x="274320" y="429260"/>
                  <a:pt x="266700" y="434340"/>
                </a:cubicBezTo>
                <a:cubicBezTo>
                  <a:pt x="226060" y="495300"/>
                  <a:pt x="279400" y="421640"/>
                  <a:pt x="228600" y="472440"/>
                </a:cubicBezTo>
                <a:cubicBezTo>
                  <a:pt x="177800" y="523240"/>
                  <a:pt x="251460" y="469900"/>
                  <a:pt x="190500" y="510540"/>
                </a:cubicBezTo>
                <a:cubicBezTo>
                  <a:pt x="187960" y="518160"/>
                  <a:pt x="187898" y="527128"/>
                  <a:pt x="182880" y="533400"/>
                </a:cubicBezTo>
                <a:cubicBezTo>
                  <a:pt x="177159" y="540551"/>
                  <a:pt x="167055" y="542777"/>
                  <a:pt x="160020" y="548640"/>
                </a:cubicBezTo>
                <a:cubicBezTo>
                  <a:pt x="151741" y="555539"/>
                  <a:pt x="144059" y="563221"/>
                  <a:pt x="137160" y="571500"/>
                </a:cubicBezTo>
                <a:cubicBezTo>
                  <a:pt x="84116" y="635153"/>
                  <a:pt x="165846" y="550434"/>
                  <a:pt x="99060" y="617220"/>
                </a:cubicBezTo>
                <a:cubicBezTo>
                  <a:pt x="94403" y="631190"/>
                  <a:pt x="85047" y="672627"/>
                  <a:pt x="68580" y="685800"/>
                </a:cubicBezTo>
                <a:cubicBezTo>
                  <a:pt x="62308" y="690818"/>
                  <a:pt x="53340" y="690880"/>
                  <a:pt x="45720" y="693420"/>
                </a:cubicBezTo>
                <a:lnTo>
                  <a:pt x="22860" y="762000"/>
                </a:lnTo>
                <a:lnTo>
                  <a:pt x="15240" y="784860"/>
                </a:lnTo>
                <a:cubicBezTo>
                  <a:pt x="12700" y="810260"/>
                  <a:pt x="11502" y="835830"/>
                  <a:pt x="7620" y="861060"/>
                </a:cubicBezTo>
                <a:cubicBezTo>
                  <a:pt x="6399" y="868999"/>
                  <a:pt x="0" y="875888"/>
                  <a:pt x="0" y="883920"/>
                </a:cubicBezTo>
                <a:cubicBezTo>
                  <a:pt x="0" y="927175"/>
                  <a:pt x="2025" y="970569"/>
                  <a:pt x="7620" y="1013460"/>
                </a:cubicBezTo>
                <a:cubicBezTo>
                  <a:pt x="14558" y="1066655"/>
                  <a:pt x="20333" y="1046505"/>
                  <a:pt x="38100" y="1082040"/>
                </a:cubicBezTo>
                <a:cubicBezTo>
                  <a:pt x="55283" y="1116407"/>
                  <a:pt x="33663" y="1095003"/>
                  <a:pt x="60960" y="1127760"/>
                </a:cubicBezTo>
                <a:cubicBezTo>
                  <a:pt x="67859" y="1136039"/>
                  <a:pt x="77204" y="1142114"/>
                  <a:pt x="83820" y="1150620"/>
                </a:cubicBezTo>
                <a:cubicBezTo>
                  <a:pt x="95065" y="1165078"/>
                  <a:pt x="99060" y="1186180"/>
                  <a:pt x="114300" y="1196340"/>
                </a:cubicBezTo>
                <a:cubicBezTo>
                  <a:pt x="134620" y="1209887"/>
                  <a:pt x="144224" y="1214131"/>
                  <a:pt x="160020" y="1234440"/>
                </a:cubicBezTo>
                <a:cubicBezTo>
                  <a:pt x="171265" y="1248898"/>
                  <a:pt x="180340" y="1264920"/>
                  <a:pt x="190500" y="1280160"/>
                </a:cubicBezTo>
                <a:cubicBezTo>
                  <a:pt x="195580" y="1287780"/>
                  <a:pt x="202844" y="1294332"/>
                  <a:pt x="205740" y="1303020"/>
                </a:cubicBezTo>
                <a:cubicBezTo>
                  <a:pt x="208280" y="1310640"/>
                  <a:pt x="209459" y="1318859"/>
                  <a:pt x="213360" y="1325880"/>
                </a:cubicBezTo>
                <a:cubicBezTo>
                  <a:pt x="222255" y="1341891"/>
                  <a:pt x="233680" y="1356360"/>
                  <a:pt x="243840" y="1371600"/>
                </a:cubicBezTo>
                <a:lnTo>
                  <a:pt x="259080" y="1394460"/>
                </a:lnTo>
                <a:cubicBezTo>
                  <a:pt x="264160" y="1402080"/>
                  <a:pt x="271424" y="1408632"/>
                  <a:pt x="274320" y="1417320"/>
                </a:cubicBezTo>
                <a:cubicBezTo>
                  <a:pt x="279400" y="1432560"/>
                  <a:pt x="280649" y="1449674"/>
                  <a:pt x="289560" y="1463040"/>
                </a:cubicBezTo>
                <a:cubicBezTo>
                  <a:pt x="303260" y="1483591"/>
                  <a:pt x="307162" y="1485099"/>
                  <a:pt x="312420" y="1508760"/>
                </a:cubicBezTo>
                <a:cubicBezTo>
                  <a:pt x="320849" y="1546689"/>
                  <a:pt x="335280" y="1623060"/>
                  <a:pt x="335280" y="1623060"/>
                </a:cubicBezTo>
                <a:cubicBezTo>
                  <a:pt x="337820" y="1836420"/>
                  <a:pt x="337996" y="2049821"/>
                  <a:pt x="342900" y="2263140"/>
                </a:cubicBezTo>
                <a:cubicBezTo>
                  <a:pt x="343085" y="2271170"/>
                  <a:pt x="346928" y="2278816"/>
                  <a:pt x="350520" y="2286000"/>
                </a:cubicBezTo>
                <a:cubicBezTo>
                  <a:pt x="354616" y="2294191"/>
                  <a:pt x="360680" y="2301240"/>
                  <a:pt x="365760" y="2308860"/>
                </a:cubicBezTo>
                <a:cubicBezTo>
                  <a:pt x="383260" y="2378860"/>
                  <a:pt x="357969" y="2306741"/>
                  <a:pt x="396240" y="2354580"/>
                </a:cubicBezTo>
                <a:cubicBezTo>
                  <a:pt x="438304" y="2407160"/>
                  <a:pt x="361206" y="2349004"/>
                  <a:pt x="426720" y="2392680"/>
                </a:cubicBezTo>
                <a:cubicBezTo>
                  <a:pt x="468551" y="2455427"/>
                  <a:pt x="413858" y="2383523"/>
                  <a:pt x="464820" y="2423160"/>
                </a:cubicBezTo>
                <a:cubicBezTo>
                  <a:pt x="481833" y="2436392"/>
                  <a:pt x="490093" y="2462064"/>
                  <a:pt x="510540" y="2468880"/>
                </a:cubicBezTo>
                <a:cubicBezTo>
                  <a:pt x="532666" y="2476255"/>
                  <a:pt x="537460" y="2475626"/>
                  <a:pt x="556260" y="2491740"/>
                </a:cubicBezTo>
                <a:cubicBezTo>
                  <a:pt x="567169" y="2501091"/>
                  <a:pt x="573889" y="2515794"/>
                  <a:pt x="586740" y="2522220"/>
                </a:cubicBezTo>
                <a:cubicBezTo>
                  <a:pt x="605474" y="2531587"/>
                  <a:pt x="627829" y="2530836"/>
                  <a:pt x="647700" y="2537460"/>
                </a:cubicBezTo>
                <a:cubicBezTo>
                  <a:pt x="655320" y="2540000"/>
                  <a:pt x="663177" y="2541916"/>
                  <a:pt x="670560" y="2545080"/>
                </a:cubicBezTo>
                <a:cubicBezTo>
                  <a:pt x="689918" y="2553376"/>
                  <a:pt x="703208" y="2564178"/>
                  <a:pt x="723900" y="2567940"/>
                </a:cubicBezTo>
                <a:cubicBezTo>
                  <a:pt x="850914" y="2591033"/>
                  <a:pt x="731132" y="2562774"/>
                  <a:pt x="822960" y="2583180"/>
                </a:cubicBezTo>
                <a:cubicBezTo>
                  <a:pt x="833183" y="2585452"/>
                  <a:pt x="843370" y="2587923"/>
                  <a:pt x="853440" y="2590800"/>
                </a:cubicBezTo>
                <a:cubicBezTo>
                  <a:pt x="861163" y="2593007"/>
                  <a:pt x="868474" y="2596614"/>
                  <a:pt x="876300" y="2598420"/>
                </a:cubicBezTo>
                <a:cubicBezTo>
                  <a:pt x="901540" y="2604245"/>
                  <a:pt x="927926" y="2605469"/>
                  <a:pt x="952500" y="2613660"/>
                </a:cubicBezTo>
                <a:cubicBezTo>
                  <a:pt x="967740" y="2618740"/>
                  <a:pt x="982468" y="2625750"/>
                  <a:pt x="998220" y="2628900"/>
                </a:cubicBezTo>
                <a:cubicBezTo>
                  <a:pt x="1020774" y="2633411"/>
                  <a:pt x="1043940" y="2633980"/>
                  <a:pt x="1066800" y="2636520"/>
                </a:cubicBezTo>
                <a:cubicBezTo>
                  <a:pt x="1078293" y="2640351"/>
                  <a:pt x="1125726" y="2657461"/>
                  <a:pt x="1143000" y="2659380"/>
                </a:cubicBezTo>
                <a:cubicBezTo>
                  <a:pt x="1178433" y="2663317"/>
                  <a:pt x="1214120" y="2664460"/>
                  <a:pt x="1249680" y="2667000"/>
                </a:cubicBezTo>
                <a:cubicBezTo>
                  <a:pt x="1257300" y="2669540"/>
                  <a:pt x="1264817" y="2672413"/>
                  <a:pt x="1272540" y="2674620"/>
                </a:cubicBezTo>
                <a:cubicBezTo>
                  <a:pt x="1282610" y="2677497"/>
                  <a:pt x="1293085" y="2678928"/>
                  <a:pt x="1303020" y="2682240"/>
                </a:cubicBezTo>
                <a:cubicBezTo>
                  <a:pt x="1315996" y="2686565"/>
                  <a:pt x="1328144" y="2693155"/>
                  <a:pt x="1341120" y="2697480"/>
                </a:cubicBezTo>
                <a:cubicBezTo>
                  <a:pt x="1351055" y="2700792"/>
                  <a:pt x="1361665" y="2701788"/>
                  <a:pt x="1371600" y="2705100"/>
                </a:cubicBezTo>
                <a:cubicBezTo>
                  <a:pt x="1384576" y="2709425"/>
                  <a:pt x="1396724" y="2716015"/>
                  <a:pt x="1409700" y="2720340"/>
                </a:cubicBezTo>
                <a:cubicBezTo>
                  <a:pt x="1446751" y="2732690"/>
                  <a:pt x="1486454" y="2732960"/>
                  <a:pt x="1524000" y="2743200"/>
                </a:cubicBezTo>
                <a:cubicBezTo>
                  <a:pt x="1539498" y="2747427"/>
                  <a:pt x="1554333" y="2753824"/>
                  <a:pt x="1569720" y="2758440"/>
                </a:cubicBezTo>
                <a:cubicBezTo>
                  <a:pt x="1579751" y="2761449"/>
                  <a:pt x="1590040" y="2763520"/>
                  <a:pt x="1600200" y="2766060"/>
                </a:cubicBezTo>
                <a:cubicBezTo>
                  <a:pt x="1624175" y="2784041"/>
                  <a:pt x="1633267" y="2793700"/>
                  <a:pt x="1661160" y="2804160"/>
                </a:cubicBezTo>
                <a:cubicBezTo>
                  <a:pt x="1670966" y="2807837"/>
                  <a:pt x="1681973" y="2807752"/>
                  <a:pt x="1691640" y="2811780"/>
                </a:cubicBezTo>
                <a:cubicBezTo>
                  <a:pt x="1712611" y="2820518"/>
                  <a:pt x="1736536" y="2826196"/>
                  <a:pt x="1752600" y="2842260"/>
                </a:cubicBezTo>
                <a:cubicBezTo>
                  <a:pt x="1760220" y="2849880"/>
                  <a:pt x="1766040" y="2859887"/>
                  <a:pt x="1775460" y="2865120"/>
                </a:cubicBezTo>
                <a:cubicBezTo>
                  <a:pt x="1802210" y="2879981"/>
                  <a:pt x="1830627" y="2880817"/>
                  <a:pt x="1859280" y="2887980"/>
                </a:cubicBezTo>
                <a:cubicBezTo>
                  <a:pt x="1867072" y="2889928"/>
                  <a:pt x="1874379" y="2893530"/>
                  <a:pt x="1882140" y="2895600"/>
                </a:cubicBezTo>
                <a:cubicBezTo>
                  <a:pt x="1970831" y="2919251"/>
                  <a:pt x="1951312" y="2914749"/>
                  <a:pt x="2019300" y="2926080"/>
                </a:cubicBezTo>
                <a:lnTo>
                  <a:pt x="2316480" y="2910840"/>
                </a:lnTo>
                <a:cubicBezTo>
                  <a:pt x="2353288" y="2908540"/>
                  <a:pt x="2394029" y="2902282"/>
                  <a:pt x="2430780" y="2895600"/>
                </a:cubicBezTo>
                <a:cubicBezTo>
                  <a:pt x="2443523" y="2893283"/>
                  <a:pt x="2456237" y="2890790"/>
                  <a:pt x="2468880" y="2887980"/>
                </a:cubicBezTo>
                <a:cubicBezTo>
                  <a:pt x="2479103" y="2885708"/>
                  <a:pt x="2488894" y="2880743"/>
                  <a:pt x="2499360" y="2880360"/>
                </a:cubicBezTo>
                <a:cubicBezTo>
                  <a:pt x="2697413" y="2873114"/>
                  <a:pt x="3093720" y="2865120"/>
                  <a:pt x="3093720" y="2865120"/>
                </a:cubicBezTo>
                <a:lnTo>
                  <a:pt x="3703320" y="2872740"/>
                </a:lnTo>
                <a:cubicBezTo>
                  <a:pt x="3723943" y="2873220"/>
                  <a:pt x="3796083" y="2890961"/>
                  <a:pt x="3810000" y="2895600"/>
                </a:cubicBezTo>
                <a:cubicBezTo>
                  <a:pt x="3825240" y="2900680"/>
                  <a:pt x="3839770" y="2908926"/>
                  <a:pt x="3855720" y="2910840"/>
                </a:cubicBezTo>
                <a:cubicBezTo>
                  <a:pt x="3903703" y="2916598"/>
                  <a:pt x="3952240" y="2915920"/>
                  <a:pt x="4000500" y="2918460"/>
                </a:cubicBezTo>
                <a:cubicBezTo>
                  <a:pt x="4015740" y="2921000"/>
                  <a:pt x="4031070" y="2923050"/>
                  <a:pt x="4046220" y="2926080"/>
                </a:cubicBezTo>
                <a:cubicBezTo>
                  <a:pt x="4056489" y="2928134"/>
                  <a:pt x="4066227" y="2933700"/>
                  <a:pt x="4076700" y="2933700"/>
                </a:cubicBezTo>
                <a:cubicBezTo>
                  <a:pt x="4137713" y="2933700"/>
                  <a:pt x="4198620" y="2928620"/>
                  <a:pt x="4259580" y="2926080"/>
                </a:cubicBezTo>
                <a:cubicBezTo>
                  <a:pt x="4274820" y="2921000"/>
                  <a:pt x="4290932" y="2918024"/>
                  <a:pt x="4305300" y="2910840"/>
                </a:cubicBezTo>
                <a:cubicBezTo>
                  <a:pt x="4316659" y="2905160"/>
                  <a:pt x="4324964" y="2894636"/>
                  <a:pt x="4335780" y="2887980"/>
                </a:cubicBezTo>
                <a:cubicBezTo>
                  <a:pt x="4358052" y="2874274"/>
                  <a:pt x="4380970" y="2861575"/>
                  <a:pt x="4404360" y="2849880"/>
                </a:cubicBezTo>
                <a:cubicBezTo>
                  <a:pt x="4416594" y="2843763"/>
                  <a:pt x="4430226" y="2840757"/>
                  <a:pt x="4442460" y="2834640"/>
                </a:cubicBezTo>
                <a:cubicBezTo>
                  <a:pt x="4475135" y="2818302"/>
                  <a:pt x="4457846" y="2820133"/>
                  <a:pt x="4488180" y="2796540"/>
                </a:cubicBezTo>
                <a:cubicBezTo>
                  <a:pt x="4502638" y="2785295"/>
                  <a:pt x="4533900" y="2766060"/>
                  <a:pt x="4533900" y="2766060"/>
                </a:cubicBezTo>
                <a:cubicBezTo>
                  <a:pt x="4536440" y="2758440"/>
                  <a:pt x="4537619" y="2750221"/>
                  <a:pt x="4541520" y="2743200"/>
                </a:cubicBezTo>
                <a:cubicBezTo>
                  <a:pt x="4560615" y="2708828"/>
                  <a:pt x="4573154" y="2706949"/>
                  <a:pt x="4579620" y="2674620"/>
                </a:cubicBezTo>
                <a:cubicBezTo>
                  <a:pt x="4585680" y="2644320"/>
                  <a:pt x="4594860" y="2583180"/>
                  <a:pt x="4594860" y="2583180"/>
                </a:cubicBezTo>
                <a:cubicBezTo>
                  <a:pt x="4545989" y="2509874"/>
                  <a:pt x="4610142" y="2613849"/>
                  <a:pt x="4564380" y="2407920"/>
                </a:cubicBezTo>
                <a:cubicBezTo>
                  <a:pt x="4559300" y="2385060"/>
                  <a:pt x="4553733" y="2362303"/>
                  <a:pt x="4549140" y="2339340"/>
                </a:cubicBezTo>
                <a:cubicBezTo>
                  <a:pt x="4546110" y="2324190"/>
                  <a:pt x="4545267" y="2308609"/>
                  <a:pt x="4541520" y="2293620"/>
                </a:cubicBezTo>
                <a:cubicBezTo>
                  <a:pt x="4537624" y="2278035"/>
                  <a:pt x="4531360" y="2263140"/>
                  <a:pt x="4526280" y="2247900"/>
                </a:cubicBezTo>
                <a:lnTo>
                  <a:pt x="4511040" y="2202180"/>
                </a:lnTo>
                <a:cubicBezTo>
                  <a:pt x="4508500" y="2194560"/>
                  <a:pt x="4507012" y="2186504"/>
                  <a:pt x="4503420" y="2179320"/>
                </a:cubicBezTo>
                <a:cubicBezTo>
                  <a:pt x="4498340" y="2169160"/>
                  <a:pt x="4492655" y="2159281"/>
                  <a:pt x="4488180" y="2148840"/>
                </a:cubicBezTo>
                <a:cubicBezTo>
                  <a:pt x="4477734" y="2124466"/>
                  <a:pt x="4475169" y="2097262"/>
                  <a:pt x="4465320" y="2072640"/>
                </a:cubicBezTo>
                <a:cubicBezTo>
                  <a:pt x="4461919" y="2064137"/>
                  <a:pt x="4455160" y="2057400"/>
                  <a:pt x="4450080" y="2049780"/>
                </a:cubicBezTo>
                <a:cubicBezTo>
                  <a:pt x="4447540" y="2037080"/>
                  <a:pt x="4446182" y="2024085"/>
                  <a:pt x="4442460" y="2011680"/>
                </a:cubicBezTo>
                <a:cubicBezTo>
                  <a:pt x="4436669" y="1992377"/>
                  <a:pt x="4421987" y="1961445"/>
                  <a:pt x="4411980" y="1943100"/>
                </a:cubicBezTo>
                <a:cubicBezTo>
                  <a:pt x="4398986" y="1919278"/>
                  <a:pt x="4383965" y="1883783"/>
                  <a:pt x="4358640" y="1866900"/>
                </a:cubicBezTo>
                <a:cubicBezTo>
                  <a:pt x="4351957" y="1862445"/>
                  <a:pt x="4343400" y="1861820"/>
                  <a:pt x="4335780" y="1859280"/>
                </a:cubicBezTo>
                <a:cubicBezTo>
                  <a:pt x="4271941" y="1795441"/>
                  <a:pt x="4300122" y="1827403"/>
                  <a:pt x="4236720" y="1744980"/>
                </a:cubicBezTo>
                <a:cubicBezTo>
                  <a:pt x="4228977" y="1734914"/>
                  <a:pt x="4219540" y="1725859"/>
                  <a:pt x="4213860" y="1714500"/>
                </a:cubicBezTo>
                <a:cubicBezTo>
                  <a:pt x="4192503" y="1671786"/>
                  <a:pt x="4202839" y="1694567"/>
                  <a:pt x="4183380" y="1645920"/>
                </a:cubicBezTo>
                <a:cubicBezTo>
                  <a:pt x="4180840" y="1625600"/>
                  <a:pt x="4179127" y="1605160"/>
                  <a:pt x="4175760" y="1584960"/>
                </a:cubicBezTo>
                <a:cubicBezTo>
                  <a:pt x="4174038" y="1574630"/>
                  <a:pt x="4170412" y="1564703"/>
                  <a:pt x="4168140" y="1554480"/>
                </a:cubicBezTo>
                <a:cubicBezTo>
                  <a:pt x="4165330" y="1541837"/>
                  <a:pt x="4163330" y="1529023"/>
                  <a:pt x="4160520" y="1516380"/>
                </a:cubicBezTo>
                <a:cubicBezTo>
                  <a:pt x="4158248" y="1506157"/>
                  <a:pt x="4154954" y="1496169"/>
                  <a:pt x="4152900" y="1485900"/>
                </a:cubicBezTo>
                <a:cubicBezTo>
                  <a:pt x="4149870" y="1470750"/>
                  <a:pt x="4147820" y="1455420"/>
                  <a:pt x="4145280" y="1440180"/>
                </a:cubicBezTo>
                <a:cubicBezTo>
                  <a:pt x="4142740" y="1282700"/>
                  <a:pt x="4144812" y="1125078"/>
                  <a:pt x="4137660" y="967740"/>
                </a:cubicBezTo>
                <a:cubicBezTo>
                  <a:pt x="4137144" y="956392"/>
                  <a:pt x="4126895" y="947701"/>
                  <a:pt x="4122420" y="937260"/>
                </a:cubicBezTo>
                <a:cubicBezTo>
                  <a:pt x="4119256" y="929877"/>
                  <a:pt x="4118392" y="921584"/>
                  <a:pt x="4114800" y="914400"/>
                </a:cubicBezTo>
                <a:cubicBezTo>
                  <a:pt x="4100685" y="886170"/>
                  <a:pt x="4052487" y="839838"/>
                  <a:pt x="4038600" y="830580"/>
                </a:cubicBezTo>
                <a:cubicBezTo>
                  <a:pt x="4030980" y="825500"/>
                  <a:pt x="4022775" y="821203"/>
                  <a:pt x="4015740" y="815340"/>
                </a:cubicBezTo>
                <a:cubicBezTo>
                  <a:pt x="4007461" y="808441"/>
                  <a:pt x="4002018" y="798191"/>
                  <a:pt x="3992880" y="792480"/>
                </a:cubicBezTo>
                <a:cubicBezTo>
                  <a:pt x="3981281" y="785231"/>
                  <a:pt x="3967014" y="783357"/>
                  <a:pt x="3954780" y="777240"/>
                </a:cubicBezTo>
                <a:cubicBezTo>
                  <a:pt x="3946589" y="773144"/>
                  <a:pt x="3940289" y="765719"/>
                  <a:pt x="3931920" y="762000"/>
                </a:cubicBezTo>
                <a:cubicBezTo>
                  <a:pt x="3890258" y="743483"/>
                  <a:pt x="3884046" y="747853"/>
                  <a:pt x="3840480" y="739140"/>
                </a:cubicBezTo>
                <a:cubicBezTo>
                  <a:pt x="3830211" y="737086"/>
                  <a:pt x="3820381" y="732904"/>
                  <a:pt x="3810000" y="731520"/>
                </a:cubicBezTo>
                <a:cubicBezTo>
                  <a:pt x="3755355" y="724234"/>
                  <a:pt x="3642790" y="718995"/>
                  <a:pt x="3596640" y="716280"/>
                </a:cubicBezTo>
                <a:cubicBezTo>
                  <a:pt x="3566616" y="698266"/>
                  <a:pt x="3558122" y="691845"/>
                  <a:pt x="3528060" y="678180"/>
                </a:cubicBezTo>
                <a:cubicBezTo>
                  <a:pt x="3510450" y="670175"/>
                  <a:pt x="3493209" y="661009"/>
                  <a:pt x="3474720" y="655320"/>
                </a:cubicBezTo>
                <a:cubicBezTo>
                  <a:pt x="3338996" y="613559"/>
                  <a:pt x="3520763" y="685338"/>
                  <a:pt x="3383280" y="632460"/>
                </a:cubicBezTo>
                <a:cubicBezTo>
                  <a:pt x="3365225" y="625516"/>
                  <a:pt x="3347242" y="618251"/>
                  <a:pt x="3329940" y="609600"/>
                </a:cubicBezTo>
                <a:cubicBezTo>
                  <a:pt x="3321749" y="605504"/>
                  <a:pt x="3315768" y="597256"/>
                  <a:pt x="3307080" y="594360"/>
                </a:cubicBezTo>
                <a:cubicBezTo>
                  <a:pt x="3292423" y="589474"/>
                  <a:pt x="3276600" y="589280"/>
                  <a:pt x="3261360" y="586740"/>
                </a:cubicBezTo>
                <a:cubicBezTo>
                  <a:pt x="3227507" y="573720"/>
                  <a:pt x="3105331" y="527776"/>
                  <a:pt x="3070860" y="510540"/>
                </a:cubicBezTo>
                <a:cubicBezTo>
                  <a:pt x="3055620" y="502920"/>
                  <a:pt x="3040580" y="494885"/>
                  <a:pt x="3025140" y="487680"/>
                </a:cubicBezTo>
                <a:cubicBezTo>
                  <a:pt x="2990518" y="471523"/>
                  <a:pt x="2910928" y="439035"/>
                  <a:pt x="2880360" y="419100"/>
                </a:cubicBezTo>
                <a:cubicBezTo>
                  <a:pt x="2845466" y="396343"/>
                  <a:pt x="2819755" y="358923"/>
                  <a:pt x="2781300" y="342900"/>
                </a:cubicBezTo>
                <a:lnTo>
                  <a:pt x="2689860" y="304800"/>
                </a:lnTo>
                <a:cubicBezTo>
                  <a:pt x="2667000" y="281940"/>
                  <a:pt x="2639213" y="263119"/>
                  <a:pt x="2621280" y="236220"/>
                </a:cubicBezTo>
                <a:cubicBezTo>
                  <a:pt x="2600807" y="205510"/>
                  <a:pt x="2588589" y="183946"/>
                  <a:pt x="2552700" y="160020"/>
                </a:cubicBezTo>
                <a:cubicBezTo>
                  <a:pt x="2501175" y="125670"/>
                  <a:pt x="2564987" y="166846"/>
                  <a:pt x="2484120" y="121920"/>
                </a:cubicBezTo>
                <a:cubicBezTo>
                  <a:pt x="2476114" y="117472"/>
                  <a:pt x="2468712" y="112003"/>
                  <a:pt x="2461260" y="106680"/>
                </a:cubicBezTo>
                <a:cubicBezTo>
                  <a:pt x="2450926" y="99298"/>
                  <a:pt x="2442139" y="89500"/>
                  <a:pt x="2430780" y="83820"/>
                </a:cubicBezTo>
                <a:cubicBezTo>
                  <a:pt x="2416412" y="76636"/>
                  <a:pt x="2399428" y="75764"/>
                  <a:pt x="2385060" y="68580"/>
                </a:cubicBezTo>
                <a:cubicBezTo>
                  <a:pt x="2374900" y="63500"/>
                  <a:pt x="2365687" y="55720"/>
                  <a:pt x="2354580" y="53340"/>
                </a:cubicBezTo>
                <a:cubicBezTo>
                  <a:pt x="2329620" y="47991"/>
                  <a:pt x="2303780" y="48260"/>
                  <a:pt x="2278380" y="45720"/>
                </a:cubicBezTo>
                <a:cubicBezTo>
                  <a:pt x="2258060" y="40640"/>
                  <a:pt x="2238007" y="34340"/>
                  <a:pt x="2217420" y="30480"/>
                </a:cubicBezTo>
                <a:cubicBezTo>
                  <a:pt x="2197293" y="26706"/>
                  <a:pt x="2176484" y="27151"/>
                  <a:pt x="2156460" y="22860"/>
                </a:cubicBezTo>
                <a:cubicBezTo>
                  <a:pt x="2140752" y="19494"/>
                  <a:pt x="2126127" y="12236"/>
                  <a:pt x="2110740" y="7620"/>
                </a:cubicBezTo>
                <a:cubicBezTo>
                  <a:pt x="2100709" y="4611"/>
                  <a:pt x="2090420" y="2540"/>
                  <a:pt x="2080260" y="0"/>
                </a:cubicBezTo>
                <a:cubicBezTo>
                  <a:pt x="1993900" y="2540"/>
                  <a:pt x="1907464" y="3195"/>
                  <a:pt x="1821180" y="7620"/>
                </a:cubicBezTo>
                <a:cubicBezTo>
                  <a:pt x="1808245" y="8283"/>
                  <a:pt x="1795855" y="13111"/>
                  <a:pt x="1783080" y="15240"/>
                </a:cubicBezTo>
                <a:cubicBezTo>
                  <a:pt x="1765364" y="18193"/>
                  <a:pt x="1747492" y="20129"/>
                  <a:pt x="1729740" y="22860"/>
                </a:cubicBezTo>
                <a:cubicBezTo>
                  <a:pt x="1714469" y="25209"/>
                  <a:pt x="1699260" y="27940"/>
                  <a:pt x="1684020" y="30480"/>
                </a:cubicBezTo>
                <a:cubicBezTo>
                  <a:pt x="1631058" y="65788"/>
                  <a:pt x="1697625" y="23678"/>
                  <a:pt x="1623060" y="60960"/>
                </a:cubicBezTo>
                <a:cubicBezTo>
                  <a:pt x="1614869" y="65056"/>
                  <a:pt x="1608775" y="72984"/>
                  <a:pt x="1600200" y="76200"/>
                </a:cubicBezTo>
                <a:cubicBezTo>
                  <a:pt x="1588073" y="80748"/>
                  <a:pt x="1574595" y="80412"/>
                  <a:pt x="1562100" y="83820"/>
                </a:cubicBezTo>
                <a:cubicBezTo>
                  <a:pt x="1546602" y="88047"/>
                  <a:pt x="1531965" y="95164"/>
                  <a:pt x="1516380" y="99060"/>
                </a:cubicBezTo>
                <a:cubicBezTo>
                  <a:pt x="1421095" y="122881"/>
                  <a:pt x="1539562" y="92436"/>
                  <a:pt x="1463040" y="114300"/>
                </a:cubicBezTo>
                <a:cubicBezTo>
                  <a:pt x="1452970" y="117177"/>
                  <a:pt x="1442366" y="118243"/>
                  <a:pt x="1432560" y="121920"/>
                </a:cubicBezTo>
                <a:cubicBezTo>
                  <a:pt x="1421924" y="125908"/>
                  <a:pt x="1412960" y="133896"/>
                  <a:pt x="1402080" y="137160"/>
                </a:cubicBezTo>
                <a:cubicBezTo>
                  <a:pt x="1387281" y="141600"/>
                  <a:pt x="1371289" y="140799"/>
                  <a:pt x="1356360" y="144780"/>
                </a:cubicBezTo>
                <a:cubicBezTo>
                  <a:pt x="1217631" y="181774"/>
                  <a:pt x="1347129" y="157749"/>
                  <a:pt x="1242060" y="175260"/>
                </a:cubicBezTo>
                <a:cubicBezTo>
                  <a:pt x="1191260" y="172720"/>
                  <a:pt x="1140332" y="172046"/>
                  <a:pt x="1089660" y="167640"/>
                </a:cubicBezTo>
                <a:cubicBezTo>
                  <a:pt x="1081658" y="166944"/>
                  <a:pt x="1074523" y="162227"/>
                  <a:pt x="1066800" y="160020"/>
                </a:cubicBezTo>
                <a:cubicBezTo>
                  <a:pt x="1056730" y="157143"/>
                  <a:pt x="1046480" y="154940"/>
                  <a:pt x="1036320" y="152400"/>
                </a:cubicBezTo>
                <a:cubicBezTo>
                  <a:pt x="1021080" y="142240"/>
                  <a:pt x="1007976" y="127712"/>
                  <a:pt x="990600" y="121920"/>
                </a:cubicBezTo>
                <a:cubicBezTo>
                  <a:pt x="982980" y="119380"/>
                  <a:pt x="974924" y="117892"/>
                  <a:pt x="967740" y="114300"/>
                </a:cubicBezTo>
                <a:cubicBezTo>
                  <a:pt x="959549" y="110204"/>
                  <a:pt x="953249" y="102779"/>
                  <a:pt x="944880" y="99060"/>
                </a:cubicBezTo>
                <a:cubicBezTo>
                  <a:pt x="930200" y="92536"/>
                  <a:pt x="899160" y="83820"/>
                  <a:pt x="899160" y="83820"/>
                </a:cubicBezTo>
                <a:cubicBezTo>
                  <a:pt x="744946" y="88960"/>
                  <a:pt x="723963" y="49483"/>
                  <a:pt x="647700" y="106680"/>
                </a:cubicBezTo>
                <a:cubicBezTo>
                  <a:pt x="644826" y="108835"/>
                  <a:pt x="642620" y="111760"/>
                  <a:pt x="624840" y="121920"/>
                </a:cubicBezTo>
                <a:close/>
              </a:path>
            </a:pathLst>
          </a:custGeom>
          <a:solidFill>
            <a:srgbClr val="00B050">
              <a:alpha val="3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: скругленные углы 11">
            <a:extLst>
              <a:ext uri="{FF2B5EF4-FFF2-40B4-BE49-F238E27FC236}">
                <a16:creationId xmlns="" xmlns:a16="http://schemas.microsoft.com/office/drawing/2014/main" id="{8354CDC2-CF4A-4E54-A9EB-5CD43D7ABCE9}"/>
              </a:ext>
            </a:extLst>
          </p:cNvPr>
          <p:cNvSpPr/>
          <p:nvPr/>
        </p:nvSpPr>
        <p:spPr>
          <a:xfrm>
            <a:off x="3032331" y="1455859"/>
            <a:ext cx="3339869" cy="676997"/>
          </a:xfrm>
          <a:prstGeom prst="round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EE1AC81A-90A1-4CFA-B13D-BE9802863C7E}"/>
              </a:ext>
            </a:extLst>
          </p:cNvPr>
          <p:cNvSpPr txBox="1"/>
          <p:nvPr/>
        </p:nvSpPr>
        <p:spPr>
          <a:xfrm>
            <a:off x="133351" y="4708133"/>
            <a:ext cx="409353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b="1" dirty="0"/>
              <a:t>срок проверки 55 </a:t>
            </a:r>
            <a:r>
              <a:rPr lang="ru-RU" sz="1400" b="1" dirty="0" smtClean="0"/>
              <a:t>рабочих дней/ 155 дней</a:t>
            </a:r>
            <a:endParaRPr lang="ru-RU" sz="1400" b="1" dirty="0"/>
          </a:p>
          <a:p>
            <a:pPr marL="180975" indent="-180975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b="1" dirty="0"/>
              <a:t>«Пирамида по поставщикам» всех уровней </a:t>
            </a:r>
          </a:p>
          <a:p>
            <a:pPr marL="180975" indent="-180975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b="1" dirty="0"/>
              <a:t>низкая эффективность возврата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6844EC0C-E432-4832-8412-0721ED67A8E2}"/>
              </a:ext>
            </a:extLst>
          </p:cNvPr>
          <p:cNvSpPr txBox="1"/>
          <p:nvPr/>
        </p:nvSpPr>
        <p:spPr>
          <a:xfrm>
            <a:off x="4858102" y="4708133"/>
            <a:ext cx="4285898" cy="11849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b="1" dirty="0"/>
              <a:t>срок проверки 15 </a:t>
            </a:r>
            <a:r>
              <a:rPr lang="ru-RU" sz="1400" b="1" dirty="0" smtClean="0"/>
              <a:t>рабочих дней</a:t>
            </a:r>
            <a:endParaRPr lang="ru-RU" sz="1400" b="1" dirty="0"/>
          </a:p>
          <a:p>
            <a:pPr marL="180975" indent="-180975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b="1" dirty="0"/>
              <a:t>возврат дебетового сальдо (по перечню товаров)</a:t>
            </a:r>
          </a:p>
          <a:p>
            <a:pPr marL="180975" indent="-180975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b="1" dirty="0"/>
              <a:t>«Пирамида по поставщикам» не формируется</a:t>
            </a:r>
          </a:p>
          <a:p>
            <a:pPr marL="180975" indent="-180975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b="1" dirty="0"/>
              <a:t>точечный возврат</a:t>
            </a:r>
          </a:p>
        </p:txBody>
      </p:sp>
      <p:pic>
        <p:nvPicPr>
          <p:cNvPr id="17" name="Рисунок 16" descr="Изображение выглядит как грузовик, дорога&#10;&#10;Описание создано с очень высокой степенью достоверности">
            <a:extLst>
              <a:ext uri="{FF2B5EF4-FFF2-40B4-BE49-F238E27FC236}">
                <a16:creationId xmlns="" xmlns:a16="http://schemas.microsoft.com/office/drawing/2014/main" id="{20B0353B-6187-4DC2-BAA4-39D648D6F5F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104" y="1520848"/>
            <a:ext cx="800967" cy="54000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02E3A5B9-A46A-41F2-8E4E-6F8616CD5A16}"/>
              </a:ext>
            </a:extLst>
          </p:cNvPr>
          <p:cNvSpPr txBox="1"/>
          <p:nvPr/>
        </p:nvSpPr>
        <p:spPr>
          <a:xfrm>
            <a:off x="3087543" y="1476073"/>
            <a:ext cx="284788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/>
              <a:t>ЭКСПОРТЕР/</a:t>
            </a:r>
          </a:p>
          <a:p>
            <a:pPr algn="ctr"/>
            <a:r>
              <a:rPr lang="ru-RU" sz="1600" b="1" cap="all" dirty="0" smtClean="0"/>
              <a:t>Производитель </a:t>
            </a:r>
            <a:endParaRPr lang="ru-RU" sz="1600" b="1" cap="all" dirty="0"/>
          </a:p>
        </p:txBody>
      </p:sp>
      <p:grpSp>
        <p:nvGrpSpPr>
          <p:cNvPr id="24" name="Группа 23">
            <a:extLst>
              <a:ext uri="{FF2B5EF4-FFF2-40B4-BE49-F238E27FC236}">
                <a16:creationId xmlns="" xmlns:a16="http://schemas.microsoft.com/office/drawing/2014/main" id="{8CF1042A-240A-4756-895C-267906151C2C}"/>
              </a:ext>
            </a:extLst>
          </p:cNvPr>
          <p:cNvGrpSpPr/>
          <p:nvPr/>
        </p:nvGrpSpPr>
        <p:grpSpPr>
          <a:xfrm>
            <a:off x="4663595" y="2508725"/>
            <a:ext cx="560235" cy="560235"/>
            <a:chOff x="4753153" y="2868765"/>
            <a:chExt cx="807720" cy="807720"/>
          </a:xfrm>
        </p:grpSpPr>
        <p:sp>
          <p:nvSpPr>
            <p:cNvPr id="25" name="Овал 24">
              <a:extLst>
                <a:ext uri="{FF2B5EF4-FFF2-40B4-BE49-F238E27FC236}">
                  <a16:creationId xmlns="" xmlns:a16="http://schemas.microsoft.com/office/drawing/2014/main" id="{5B1F9EF1-9A8E-4BDC-85B5-AB462730F120}"/>
                </a:ext>
              </a:extLst>
            </p:cNvPr>
            <p:cNvSpPr/>
            <p:nvPr/>
          </p:nvSpPr>
          <p:spPr>
            <a:xfrm>
              <a:off x="4753153" y="2868765"/>
              <a:ext cx="807720" cy="80772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6" name="Рисунок 25" descr="Изображение выглядит как предмет, объект&#10;&#10;Описание создано с высокой степенью достоверности">
              <a:extLst>
                <a:ext uri="{FF2B5EF4-FFF2-40B4-BE49-F238E27FC236}">
                  <a16:creationId xmlns="" xmlns:a16="http://schemas.microsoft.com/office/drawing/2014/main" id="{FA75C6FF-A2CC-414A-B615-AFCE8FF7A1A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4765" y="2960377"/>
              <a:ext cx="624495" cy="624495"/>
            </a:xfrm>
            <a:prstGeom prst="rect">
              <a:avLst/>
            </a:prstGeom>
          </p:spPr>
        </p:pic>
      </p:grpSp>
      <p:grpSp>
        <p:nvGrpSpPr>
          <p:cNvPr id="27" name="Группа 26">
            <a:extLst>
              <a:ext uri="{FF2B5EF4-FFF2-40B4-BE49-F238E27FC236}">
                <a16:creationId xmlns="" xmlns:a16="http://schemas.microsoft.com/office/drawing/2014/main" id="{E64D81D8-49C4-4243-898A-B7CC1D247F20}"/>
              </a:ext>
            </a:extLst>
          </p:cNvPr>
          <p:cNvGrpSpPr/>
          <p:nvPr/>
        </p:nvGrpSpPr>
        <p:grpSpPr>
          <a:xfrm>
            <a:off x="2405446" y="2436717"/>
            <a:ext cx="560235" cy="560235"/>
            <a:chOff x="3375542" y="2868765"/>
            <a:chExt cx="807720" cy="807720"/>
          </a:xfrm>
        </p:grpSpPr>
        <p:sp>
          <p:nvSpPr>
            <p:cNvPr id="28" name="Овал 27">
              <a:extLst>
                <a:ext uri="{FF2B5EF4-FFF2-40B4-BE49-F238E27FC236}">
                  <a16:creationId xmlns="" xmlns:a16="http://schemas.microsoft.com/office/drawing/2014/main" id="{EEDAF61D-AEB4-4995-BB63-7C11978C1C6E}"/>
                </a:ext>
              </a:extLst>
            </p:cNvPr>
            <p:cNvSpPr/>
            <p:nvPr/>
          </p:nvSpPr>
          <p:spPr>
            <a:xfrm>
              <a:off x="3375542" y="2868765"/>
              <a:ext cx="807720" cy="80772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9" name="Рисунок 28" descr="Изображение выглядит как предмет, объект&#10;&#10;Описание создано с высокой степенью достоверности">
              <a:extLst>
                <a:ext uri="{FF2B5EF4-FFF2-40B4-BE49-F238E27FC236}">
                  <a16:creationId xmlns="" xmlns:a16="http://schemas.microsoft.com/office/drawing/2014/main" id="{E1298731-9143-4221-B385-EAC6EDDDE37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67154" y="2960377"/>
              <a:ext cx="624495" cy="624495"/>
            </a:xfrm>
            <a:prstGeom prst="rect">
              <a:avLst/>
            </a:prstGeom>
          </p:spPr>
        </p:pic>
      </p:grpSp>
      <p:grpSp>
        <p:nvGrpSpPr>
          <p:cNvPr id="31" name="Группа 30">
            <a:extLst>
              <a:ext uri="{FF2B5EF4-FFF2-40B4-BE49-F238E27FC236}">
                <a16:creationId xmlns="" xmlns:a16="http://schemas.microsoft.com/office/drawing/2014/main" id="{1BC02E3B-2E89-43D8-988B-11B59C28AD95}"/>
              </a:ext>
            </a:extLst>
          </p:cNvPr>
          <p:cNvGrpSpPr/>
          <p:nvPr/>
        </p:nvGrpSpPr>
        <p:grpSpPr>
          <a:xfrm>
            <a:off x="1547884" y="3084789"/>
            <a:ext cx="560235" cy="560235"/>
            <a:chOff x="3375542" y="2868765"/>
            <a:chExt cx="807720" cy="807720"/>
          </a:xfrm>
        </p:grpSpPr>
        <p:sp>
          <p:nvSpPr>
            <p:cNvPr id="32" name="Овал 31">
              <a:extLst>
                <a:ext uri="{FF2B5EF4-FFF2-40B4-BE49-F238E27FC236}">
                  <a16:creationId xmlns="" xmlns:a16="http://schemas.microsoft.com/office/drawing/2014/main" id="{D607533E-231E-4929-A6F3-5B9D34C592E3}"/>
                </a:ext>
              </a:extLst>
            </p:cNvPr>
            <p:cNvSpPr/>
            <p:nvPr/>
          </p:nvSpPr>
          <p:spPr>
            <a:xfrm>
              <a:off x="3375542" y="2868765"/>
              <a:ext cx="807720" cy="80772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33" name="Рисунок 32" descr="Изображение выглядит как предмет, объект&#10;&#10;Описание создано с высокой степенью достоверности">
              <a:extLst>
                <a:ext uri="{FF2B5EF4-FFF2-40B4-BE49-F238E27FC236}">
                  <a16:creationId xmlns="" xmlns:a16="http://schemas.microsoft.com/office/drawing/2014/main" id="{AB2F8B69-02E5-4421-A38B-486AE39D895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67154" y="2960377"/>
              <a:ext cx="624495" cy="624495"/>
            </a:xfrm>
            <a:prstGeom prst="rect">
              <a:avLst/>
            </a:prstGeom>
          </p:spPr>
        </p:pic>
      </p:grpSp>
      <p:grpSp>
        <p:nvGrpSpPr>
          <p:cNvPr id="37" name="Группа 36">
            <a:extLst>
              <a:ext uri="{FF2B5EF4-FFF2-40B4-BE49-F238E27FC236}">
                <a16:creationId xmlns="" xmlns:a16="http://schemas.microsoft.com/office/drawing/2014/main" id="{88B07D8C-D569-45D2-A12C-3D90A966AA74}"/>
              </a:ext>
            </a:extLst>
          </p:cNvPr>
          <p:cNvGrpSpPr/>
          <p:nvPr/>
        </p:nvGrpSpPr>
        <p:grpSpPr>
          <a:xfrm>
            <a:off x="2965681" y="3732861"/>
            <a:ext cx="560235" cy="560235"/>
            <a:chOff x="3375542" y="2868765"/>
            <a:chExt cx="807720" cy="807720"/>
          </a:xfrm>
        </p:grpSpPr>
        <p:sp>
          <p:nvSpPr>
            <p:cNvPr id="38" name="Овал 37">
              <a:extLst>
                <a:ext uri="{FF2B5EF4-FFF2-40B4-BE49-F238E27FC236}">
                  <a16:creationId xmlns="" xmlns:a16="http://schemas.microsoft.com/office/drawing/2014/main" id="{D97C5701-62CB-48FC-A1C7-F9B8D61974BF}"/>
                </a:ext>
              </a:extLst>
            </p:cNvPr>
            <p:cNvSpPr/>
            <p:nvPr/>
          </p:nvSpPr>
          <p:spPr>
            <a:xfrm>
              <a:off x="3375542" y="2868765"/>
              <a:ext cx="807720" cy="80772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39" name="Рисунок 38" descr="Изображение выглядит как предмет, объект&#10;&#10;Описание создано с высокой степенью достоверности">
              <a:extLst>
                <a:ext uri="{FF2B5EF4-FFF2-40B4-BE49-F238E27FC236}">
                  <a16:creationId xmlns="" xmlns:a16="http://schemas.microsoft.com/office/drawing/2014/main" id="{0F5708DD-827C-4935-8B4B-8028004B160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67154" y="2960377"/>
              <a:ext cx="624495" cy="624495"/>
            </a:xfrm>
            <a:prstGeom prst="rect">
              <a:avLst/>
            </a:prstGeom>
          </p:spPr>
        </p:pic>
      </p:grpSp>
      <p:grpSp>
        <p:nvGrpSpPr>
          <p:cNvPr id="40" name="Группа 39">
            <a:extLst>
              <a:ext uri="{FF2B5EF4-FFF2-40B4-BE49-F238E27FC236}">
                <a16:creationId xmlns="" xmlns:a16="http://schemas.microsoft.com/office/drawing/2014/main" id="{E934373D-126B-4854-AAC5-48F102926A32}"/>
              </a:ext>
            </a:extLst>
          </p:cNvPr>
          <p:cNvGrpSpPr/>
          <p:nvPr/>
        </p:nvGrpSpPr>
        <p:grpSpPr>
          <a:xfrm>
            <a:off x="398380" y="3792567"/>
            <a:ext cx="560235" cy="560235"/>
            <a:chOff x="3375542" y="2868765"/>
            <a:chExt cx="807720" cy="807720"/>
          </a:xfrm>
        </p:grpSpPr>
        <p:sp>
          <p:nvSpPr>
            <p:cNvPr id="41" name="Овал 40">
              <a:extLst>
                <a:ext uri="{FF2B5EF4-FFF2-40B4-BE49-F238E27FC236}">
                  <a16:creationId xmlns="" xmlns:a16="http://schemas.microsoft.com/office/drawing/2014/main" id="{4A16B935-94FC-43DA-9740-E76A19C3CC47}"/>
                </a:ext>
              </a:extLst>
            </p:cNvPr>
            <p:cNvSpPr/>
            <p:nvPr/>
          </p:nvSpPr>
          <p:spPr>
            <a:xfrm>
              <a:off x="3375542" y="2868765"/>
              <a:ext cx="807720" cy="80772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42" name="Рисунок 41" descr="Изображение выглядит как предмет, объект&#10;&#10;Описание создано с высокой степенью достоверности">
              <a:extLst>
                <a:ext uri="{FF2B5EF4-FFF2-40B4-BE49-F238E27FC236}">
                  <a16:creationId xmlns="" xmlns:a16="http://schemas.microsoft.com/office/drawing/2014/main" id="{4BDCBC04-FADD-4CB9-8481-6C42234A069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67154" y="2960377"/>
              <a:ext cx="624495" cy="624495"/>
            </a:xfrm>
            <a:prstGeom prst="rect">
              <a:avLst/>
            </a:prstGeom>
          </p:spPr>
        </p:pic>
      </p:grpSp>
      <p:grpSp>
        <p:nvGrpSpPr>
          <p:cNvPr id="43" name="Группа 42">
            <a:extLst>
              <a:ext uri="{FF2B5EF4-FFF2-40B4-BE49-F238E27FC236}">
                <a16:creationId xmlns="" xmlns:a16="http://schemas.microsoft.com/office/drawing/2014/main" id="{07F12ADB-083A-44A8-8239-B20F7CF5D396}"/>
              </a:ext>
            </a:extLst>
          </p:cNvPr>
          <p:cNvGrpSpPr/>
          <p:nvPr/>
        </p:nvGrpSpPr>
        <p:grpSpPr>
          <a:xfrm>
            <a:off x="3855890" y="3844534"/>
            <a:ext cx="560235" cy="560235"/>
            <a:chOff x="3375542" y="2868765"/>
            <a:chExt cx="807720" cy="807720"/>
          </a:xfrm>
        </p:grpSpPr>
        <p:sp>
          <p:nvSpPr>
            <p:cNvPr id="44" name="Овал 43">
              <a:extLst>
                <a:ext uri="{FF2B5EF4-FFF2-40B4-BE49-F238E27FC236}">
                  <a16:creationId xmlns="" xmlns:a16="http://schemas.microsoft.com/office/drawing/2014/main" id="{253BDCFA-9D65-4D31-B81A-C3AF5C127689}"/>
                </a:ext>
              </a:extLst>
            </p:cNvPr>
            <p:cNvSpPr/>
            <p:nvPr/>
          </p:nvSpPr>
          <p:spPr>
            <a:xfrm>
              <a:off x="3375542" y="2868765"/>
              <a:ext cx="807720" cy="80772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45" name="Рисунок 44" descr="Изображение выглядит как предмет, объект&#10;&#10;Описание создано с высокой степенью достоверности">
              <a:extLst>
                <a:ext uri="{FF2B5EF4-FFF2-40B4-BE49-F238E27FC236}">
                  <a16:creationId xmlns="" xmlns:a16="http://schemas.microsoft.com/office/drawing/2014/main" id="{9FB54CBA-1213-4A67-B43B-46D1BD8E35C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67154" y="2960377"/>
              <a:ext cx="624495" cy="624495"/>
            </a:xfrm>
            <a:prstGeom prst="rect">
              <a:avLst/>
            </a:prstGeom>
          </p:spPr>
        </p:pic>
      </p:grpSp>
      <p:grpSp>
        <p:nvGrpSpPr>
          <p:cNvPr id="46" name="Группа 45">
            <a:extLst>
              <a:ext uri="{FF2B5EF4-FFF2-40B4-BE49-F238E27FC236}">
                <a16:creationId xmlns="" xmlns:a16="http://schemas.microsoft.com/office/drawing/2014/main" id="{2456CBF6-C7C7-4F9A-8DC9-45E65695E344}"/>
              </a:ext>
            </a:extLst>
          </p:cNvPr>
          <p:cNvGrpSpPr/>
          <p:nvPr/>
        </p:nvGrpSpPr>
        <p:grpSpPr>
          <a:xfrm>
            <a:off x="6604053" y="2420888"/>
            <a:ext cx="560235" cy="560235"/>
            <a:chOff x="4753153" y="2868765"/>
            <a:chExt cx="807720" cy="807720"/>
          </a:xfrm>
        </p:grpSpPr>
        <p:sp>
          <p:nvSpPr>
            <p:cNvPr id="47" name="Овал 46">
              <a:extLst>
                <a:ext uri="{FF2B5EF4-FFF2-40B4-BE49-F238E27FC236}">
                  <a16:creationId xmlns="" xmlns:a16="http://schemas.microsoft.com/office/drawing/2014/main" id="{095ABBAD-2F69-41FF-A65E-CB5A97C1FA81}"/>
                </a:ext>
              </a:extLst>
            </p:cNvPr>
            <p:cNvSpPr/>
            <p:nvPr/>
          </p:nvSpPr>
          <p:spPr>
            <a:xfrm>
              <a:off x="4753153" y="2868765"/>
              <a:ext cx="807720" cy="80772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48" name="Рисунок 47" descr="Изображение выглядит как предмет, объект&#10;&#10;Описание создано с высокой степенью достоверности">
              <a:extLst>
                <a:ext uri="{FF2B5EF4-FFF2-40B4-BE49-F238E27FC236}">
                  <a16:creationId xmlns="" xmlns:a16="http://schemas.microsoft.com/office/drawing/2014/main" id="{A7F0A263-8598-4187-A65D-12A2C8AA4F5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4765" y="2960377"/>
              <a:ext cx="624495" cy="624495"/>
            </a:xfrm>
            <a:prstGeom prst="rect">
              <a:avLst/>
            </a:prstGeom>
          </p:spPr>
        </p:pic>
      </p:grpSp>
      <p:grpSp>
        <p:nvGrpSpPr>
          <p:cNvPr id="49" name="Группа 48">
            <a:extLst>
              <a:ext uri="{FF2B5EF4-FFF2-40B4-BE49-F238E27FC236}">
                <a16:creationId xmlns="" xmlns:a16="http://schemas.microsoft.com/office/drawing/2014/main" id="{39C0A043-BBBF-465D-9C21-944A2C22466F}"/>
              </a:ext>
            </a:extLst>
          </p:cNvPr>
          <p:cNvGrpSpPr/>
          <p:nvPr/>
        </p:nvGrpSpPr>
        <p:grpSpPr>
          <a:xfrm>
            <a:off x="5057618" y="3228805"/>
            <a:ext cx="560235" cy="560235"/>
            <a:chOff x="4753153" y="2868765"/>
            <a:chExt cx="807720" cy="807720"/>
          </a:xfrm>
        </p:grpSpPr>
        <p:sp>
          <p:nvSpPr>
            <p:cNvPr id="50" name="Овал 49">
              <a:extLst>
                <a:ext uri="{FF2B5EF4-FFF2-40B4-BE49-F238E27FC236}">
                  <a16:creationId xmlns="" xmlns:a16="http://schemas.microsoft.com/office/drawing/2014/main" id="{431746E3-AF0A-4648-AA00-B4DF47648FA5}"/>
                </a:ext>
              </a:extLst>
            </p:cNvPr>
            <p:cNvSpPr/>
            <p:nvPr/>
          </p:nvSpPr>
          <p:spPr>
            <a:xfrm>
              <a:off x="4753153" y="2868765"/>
              <a:ext cx="807720" cy="80772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51" name="Рисунок 50" descr="Изображение выглядит как предмет, объект&#10;&#10;Описание создано с высокой степенью достоверности">
              <a:extLst>
                <a:ext uri="{FF2B5EF4-FFF2-40B4-BE49-F238E27FC236}">
                  <a16:creationId xmlns="" xmlns:a16="http://schemas.microsoft.com/office/drawing/2014/main" id="{9D8C78D5-7F74-4F3C-BE2C-89A1942DF15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4765" y="2960377"/>
              <a:ext cx="624495" cy="624495"/>
            </a:xfrm>
            <a:prstGeom prst="rect">
              <a:avLst/>
            </a:prstGeom>
          </p:spPr>
        </p:pic>
      </p:grpSp>
      <p:grpSp>
        <p:nvGrpSpPr>
          <p:cNvPr id="52" name="Группа 51">
            <a:extLst>
              <a:ext uri="{FF2B5EF4-FFF2-40B4-BE49-F238E27FC236}">
                <a16:creationId xmlns="" xmlns:a16="http://schemas.microsoft.com/office/drawing/2014/main" id="{03DB5B49-3CE5-40BF-8E9F-27B1CC79541A}"/>
              </a:ext>
            </a:extLst>
          </p:cNvPr>
          <p:cNvGrpSpPr/>
          <p:nvPr/>
        </p:nvGrpSpPr>
        <p:grpSpPr>
          <a:xfrm>
            <a:off x="7727000" y="3084789"/>
            <a:ext cx="560235" cy="560235"/>
            <a:chOff x="4753153" y="2868765"/>
            <a:chExt cx="807720" cy="807720"/>
          </a:xfrm>
        </p:grpSpPr>
        <p:sp>
          <p:nvSpPr>
            <p:cNvPr id="53" name="Овал 52">
              <a:extLst>
                <a:ext uri="{FF2B5EF4-FFF2-40B4-BE49-F238E27FC236}">
                  <a16:creationId xmlns="" xmlns:a16="http://schemas.microsoft.com/office/drawing/2014/main" id="{AEAFBE27-80DB-42D0-A6F5-BD0BAD2F140A}"/>
                </a:ext>
              </a:extLst>
            </p:cNvPr>
            <p:cNvSpPr/>
            <p:nvPr/>
          </p:nvSpPr>
          <p:spPr>
            <a:xfrm>
              <a:off x="4753153" y="2868765"/>
              <a:ext cx="807720" cy="80772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54" name="Рисунок 53" descr="Изображение выглядит как предмет, объект&#10;&#10;Описание создано с высокой степенью достоверности">
              <a:extLst>
                <a:ext uri="{FF2B5EF4-FFF2-40B4-BE49-F238E27FC236}">
                  <a16:creationId xmlns="" xmlns:a16="http://schemas.microsoft.com/office/drawing/2014/main" id="{AFDF99F0-85AC-47CE-BFEF-C1E96905E07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4765" y="2960377"/>
              <a:ext cx="624495" cy="624495"/>
            </a:xfrm>
            <a:prstGeom prst="rect">
              <a:avLst/>
            </a:prstGeom>
          </p:spPr>
        </p:pic>
      </p:grpSp>
      <p:grpSp>
        <p:nvGrpSpPr>
          <p:cNvPr id="55" name="Группа 54">
            <a:extLst>
              <a:ext uri="{FF2B5EF4-FFF2-40B4-BE49-F238E27FC236}">
                <a16:creationId xmlns="" xmlns:a16="http://schemas.microsoft.com/office/drawing/2014/main" id="{F9BD19C3-B1A6-4168-8990-FE1938131930}"/>
              </a:ext>
            </a:extLst>
          </p:cNvPr>
          <p:cNvGrpSpPr/>
          <p:nvPr/>
        </p:nvGrpSpPr>
        <p:grpSpPr>
          <a:xfrm>
            <a:off x="6514539" y="3948885"/>
            <a:ext cx="560235" cy="560235"/>
            <a:chOff x="4753153" y="2868765"/>
            <a:chExt cx="807720" cy="807720"/>
          </a:xfrm>
        </p:grpSpPr>
        <p:sp>
          <p:nvSpPr>
            <p:cNvPr id="56" name="Овал 55">
              <a:extLst>
                <a:ext uri="{FF2B5EF4-FFF2-40B4-BE49-F238E27FC236}">
                  <a16:creationId xmlns="" xmlns:a16="http://schemas.microsoft.com/office/drawing/2014/main" id="{63A17C02-F6D9-4339-9A30-EC9D6B2DF723}"/>
                </a:ext>
              </a:extLst>
            </p:cNvPr>
            <p:cNvSpPr/>
            <p:nvPr/>
          </p:nvSpPr>
          <p:spPr>
            <a:xfrm>
              <a:off x="4753153" y="2868765"/>
              <a:ext cx="807720" cy="80772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57" name="Рисунок 56" descr="Изображение выглядит как предмет, объект&#10;&#10;Описание создано с высокой степенью достоверности">
              <a:extLst>
                <a:ext uri="{FF2B5EF4-FFF2-40B4-BE49-F238E27FC236}">
                  <a16:creationId xmlns="" xmlns:a16="http://schemas.microsoft.com/office/drawing/2014/main" id="{D495FBC6-FFB1-4A35-BAC4-60AFBA6AD1F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4765" y="2960377"/>
              <a:ext cx="624495" cy="624495"/>
            </a:xfrm>
            <a:prstGeom prst="rect">
              <a:avLst/>
            </a:prstGeom>
          </p:spPr>
        </p:pic>
      </p:grpSp>
      <p:grpSp>
        <p:nvGrpSpPr>
          <p:cNvPr id="58" name="Группа 57">
            <a:extLst>
              <a:ext uri="{FF2B5EF4-FFF2-40B4-BE49-F238E27FC236}">
                <a16:creationId xmlns="" xmlns:a16="http://schemas.microsoft.com/office/drawing/2014/main" id="{F255D4DA-F212-4D49-906E-DE716FCCC968}"/>
              </a:ext>
            </a:extLst>
          </p:cNvPr>
          <p:cNvGrpSpPr/>
          <p:nvPr/>
        </p:nvGrpSpPr>
        <p:grpSpPr>
          <a:xfrm>
            <a:off x="8251576" y="3876877"/>
            <a:ext cx="560235" cy="560235"/>
            <a:chOff x="4753153" y="2868765"/>
            <a:chExt cx="807720" cy="807720"/>
          </a:xfrm>
        </p:grpSpPr>
        <p:sp>
          <p:nvSpPr>
            <p:cNvPr id="59" name="Овал 58">
              <a:extLst>
                <a:ext uri="{FF2B5EF4-FFF2-40B4-BE49-F238E27FC236}">
                  <a16:creationId xmlns="" xmlns:a16="http://schemas.microsoft.com/office/drawing/2014/main" id="{475C33E1-0918-4625-B520-203C75D571C6}"/>
                </a:ext>
              </a:extLst>
            </p:cNvPr>
            <p:cNvSpPr/>
            <p:nvPr/>
          </p:nvSpPr>
          <p:spPr>
            <a:xfrm>
              <a:off x="4753153" y="2868765"/>
              <a:ext cx="807720" cy="80772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60" name="Рисунок 59" descr="Изображение выглядит как предмет, объект&#10;&#10;Описание создано с высокой степенью достоверности">
              <a:extLst>
                <a:ext uri="{FF2B5EF4-FFF2-40B4-BE49-F238E27FC236}">
                  <a16:creationId xmlns="" xmlns:a16="http://schemas.microsoft.com/office/drawing/2014/main" id="{6E6CD92B-ED7B-42D1-BA22-76B1663D05E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4765" y="2960377"/>
              <a:ext cx="624495" cy="624495"/>
            </a:xfrm>
            <a:prstGeom prst="rect">
              <a:avLst/>
            </a:prstGeom>
          </p:spPr>
        </p:pic>
      </p:grpSp>
      <p:cxnSp>
        <p:nvCxnSpPr>
          <p:cNvPr id="61" name="Соединитель: уступ 47">
            <a:extLst>
              <a:ext uri="{FF2B5EF4-FFF2-40B4-BE49-F238E27FC236}">
                <a16:creationId xmlns="" xmlns:a16="http://schemas.microsoft.com/office/drawing/2014/main" id="{8E28AB77-F1A3-4556-B0F0-ABF6BC5D7ADB}"/>
              </a:ext>
            </a:extLst>
          </p:cNvPr>
          <p:cNvCxnSpPr>
            <a:cxnSpLocks/>
            <a:stCxn id="14" idx="2"/>
            <a:endCxn id="28" idx="0"/>
          </p:cNvCxnSpPr>
          <p:nvPr/>
        </p:nvCxnSpPr>
        <p:spPr>
          <a:xfrm rot="5400000">
            <a:off x="3541985" y="1276435"/>
            <a:ext cx="303861" cy="2016702"/>
          </a:xfrm>
          <a:prstGeom prst="bentConnector3">
            <a:avLst>
              <a:gd name="adj1" fmla="val 50000"/>
            </a:avLst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Соединитель: уступ 49">
            <a:extLst>
              <a:ext uri="{FF2B5EF4-FFF2-40B4-BE49-F238E27FC236}">
                <a16:creationId xmlns="" xmlns:a16="http://schemas.microsoft.com/office/drawing/2014/main" id="{55A82299-95F4-4B75-8125-0C2781D5B560}"/>
              </a:ext>
            </a:extLst>
          </p:cNvPr>
          <p:cNvCxnSpPr>
            <a:cxnSpLocks/>
            <a:stCxn id="14" idx="2"/>
            <a:endCxn id="25" idx="0"/>
          </p:cNvCxnSpPr>
          <p:nvPr/>
        </p:nvCxnSpPr>
        <p:spPr>
          <a:xfrm rot="16200000" flipH="1">
            <a:off x="4635055" y="2200066"/>
            <a:ext cx="375869" cy="241447"/>
          </a:xfrm>
          <a:prstGeom prst="bentConnector3">
            <a:avLst>
              <a:gd name="adj1" fmla="val 50000"/>
            </a:avLst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Соединитель: уступ 51">
            <a:extLst>
              <a:ext uri="{FF2B5EF4-FFF2-40B4-BE49-F238E27FC236}">
                <a16:creationId xmlns="" xmlns:a16="http://schemas.microsoft.com/office/drawing/2014/main" id="{317AD452-71F9-431B-9F01-57D4C1F568D2}"/>
              </a:ext>
            </a:extLst>
          </p:cNvPr>
          <p:cNvCxnSpPr>
            <a:cxnSpLocks/>
            <a:stCxn id="14" idx="2"/>
            <a:endCxn id="47" idx="0"/>
          </p:cNvCxnSpPr>
          <p:nvPr/>
        </p:nvCxnSpPr>
        <p:spPr>
          <a:xfrm rot="16200000" flipH="1">
            <a:off x="5649202" y="1185919"/>
            <a:ext cx="288032" cy="2181905"/>
          </a:xfrm>
          <a:prstGeom prst="bentConnector3">
            <a:avLst>
              <a:gd name="adj1" fmla="val 50000"/>
            </a:avLst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Соединитель: уступ 54">
            <a:extLst>
              <a:ext uri="{FF2B5EF4-FFF2-40B4-BE49-F238E27FC236}">
                <a16:creationId xmlns="" xmlns:a16="http://schemas.microsoft.com/office/drawing/2014/main" id="{4F384138-F588-4BCE-A0E2-8E444D0AF0ED}"/>
              </a:ext>
            </a:extLst>
          </p:cNvPr>
          <p:cNvCxnSpPr>
            <a:stCxn id="28" idx="4"/>
            <a:endCxn id="32" idx="0"/>
          </p:cNvCxnSpPr>
          <p:nvPr/>
        </p:nvCxnSpPr>
        <p:spPr>
          <a:xfrm rot="5400000">
            <a:off x="2212865" y="2612089"/>
            <a:ext cx="87837" cy="857562"/>
          </a:xfrm>
          <a:prstGeom prst="bentConnector3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Соединитель: уступ 56">
            <a:extLst>
              <a:ext uri="{FF2B5EF4-FFF2-40B4-BE49-F238E27FC236}">
                <a16:creationId xmlns="" xmlns:a16="http://schemas.microsoft.com/office/drawing/2014/main" id="{7FF52191-F3CA-4091-B3B6-EE104373DBDD}"/>
              </a:ext>
            </a:extLst>
          </p:cNvPr>
          <p:cNvCxnSpPr>
            <a:cxnSpLocks/>
            <a:stCxn id="28" idx="4"/>
            <a:endCxn id="38" idx="0"/>
          </p:cNvCxnSpPr>
          <p:nvPr/>
        </p:nvCxnSpPr>
        <p:spPr>
          <a:xfrm rot="16200000" flipH="1">
            <a:off x="2597727" y="3084788"/>
            <a:ext cx="735909" cy="560235"/>
          </a:xfrm>
          <a:prstGeom prst="bentConnector3">
            <a:avLst>
              <a:gd name="adj1" fmla="val 50000"/>
            </a:avLst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Соединитель: уступ 61">
            <a:extLst>
              <a:ext uri="{FF2B5EF4-FFF2-40B4-BE49-F238E27FC236}">
                <a16:creationId xmlns="" xmlns:a16="http://schemas.microsoft.com/office/drawing/2014/main" id="{F86529EC-84B9-421F-A194-63DABEB1A8C2}"/>
              </a:ext>
            </a:extLst>
          </p:cNvPr>
          <p:cNvCxnSpPr>
            <a:cxnSpLocks/>
            <a:stCxn id="32" idx="4"/>
            <a:endCxn id="41" idx="0"/>
          </p:cNvCxnSpPr>
          <p:nvPr/>
        </p:nvCxnSpPr>
        <p:spPr>
          <a:xfrm rot="5400000">
            <a:off x="1179479" y="3144043"/>
            <a:ext cx="147543" cy="1149504"/>
          </a:xfrm>
          <a:prstGeom prst="bentConnector3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Соединитель: уступ 64">
            <a:extLst>
              <a:ext uri="{FF2B5EF4-FFF2-40B4-BE49-F238E27FC236}">
                <a16:creationId xmlns="" xmlns:a16="http://schemas.microsoft.com/office/drawing/2014/main" id="{F6FBD5DD-CB8B-4CE1-840F-E64C04B986F3}"/>
              </a:ext>
            </a:extLst>
          </p:cNvPr>
          <p:cNvCxnSpPr>
            <a:cxnSpLocks/>
            <a:stCxn id="25" idx="4"/>
            <a:endCxn id="50" idx="0"/>
          </p:cNvCxnSpPr>
          <p:nvPr/>
        </p:nvCxnSpPr>
        <p:spPr>
          <a:xfrm rot="16200000" flipH="1">
            <a:off x="5060802" y="2951870"/>
            <a:ext cx="159845" cy="394023"/>
          </a:xfrm>
          <a:prstGeom prst="bentConnector3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Соединитель: уступ 67">
            <a:extLst>
              <a:ext uri="{FF2B5EF4-FFF2-40B4-BE49-F238E27FC236}">
                <a16:creationId xmlns="" xmlns:a16="http://schemas.microsoft.com/office/drawing/2014/main" id="{558E728E-CC80-4299-9D00-23FF577ABD30}"/>
              </a:ext>
            </a:extLst>
          </p:cNvPr>
          <p:cNvCxnSpPr>
            <a:cxnSpLocks/>
            <a:stCxn id="50" idx="4"/>
            <a:endCxn id="44" idx="0"/>
          </p:cNvCxnSpPr>
          <p:nvPr/>
        </p:nvCxnSpPr>
        <p:spPr>
          <a:xfrm rot="5400000">
            <a:off x="4709125" y="3215923"/>
            <a:ext cx="55494" cy="1201728"/>
          </a:xfrm>
          <a:prstGeom prst="bentConnector3">
            <a:avLst>
              <a:gd name="adj1" fmla="val 50000"/>
            </a:avLst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Соединитель: уступ 71">
            <a:extLst>
              <a:ext uri="{FF2B5EF4-FFF2-40B4-BE49-F238E27FC236}">
                <a16:creationId xmlns="" xmlns:a16="http://schemas.microsoft.com/office/drawing/2014/main" id="{7ACBB2A2-91D1-477E-A8B0-A56FFA8F18D3}"/>
              </a:ext>
            </a:extLst>
          </p:cNvPr>
          <p:cNvCxnSpPr>
            <a:stCxn id="47" idx="4"/>
            <a:endCxn id="53" idx="0"/>
          </p:cNvCxnSpPr>
          <p:nvPr/>
        </p:nvCxnSpPr>
        <p:spPr>
          <a:xfrm rot="16200000" flipH="1">
            <a:off x="7393811" y="2471482"/>
            <a:ext cx="103666" cy="1122947"/>
          </a:xfrm>
          <a:prstGeom prst="bentConnector3">
            <a:avLst>
              <a:gd name="adj1" fmla="val 50000"/>
            </a:avLst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Соединитель: уступ 73">
            <a:extLst>
              <a:ext uri="{FF2B5EF4-FFF2-40B4-BE49-F238E27FC236}">
                <a16:creationId xmlns="" xmlns:a16="http://schemas.microsoft.com/office/drawing/2014/main" id="{76709E5D-586D-4F11-B4A3-F63C7AE28A5F}"/>
              </a:ext>
            </a:extLst>
          </p:cNvPr>
          <p:cNvCxnSpPr>
            <a:stCxn id="53" idx="4"/>
            <a:endCxn id="56" idx="0"/>
          </p:cNvCxnSpPr>
          <p:nvPr/>
        </p:nvCxnSpPr>
        <p:spPr>
          <a:xfrm rot="5400000">
            <a:off x="7248958" y="3190724"/>
            <a:ext cx="303861" cy="1212461"/>
          </a:xfrm>
          <a:prstGeom prst="bentConnector3">
            <a:avLst>
              <a:gd name="adj1" fmla="val 50000"/>
            </a:avLst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Соединитель: уступ 75">
            <a:extLst>
              <a:ext uri="{FF2B5EF4-FFF2-40B4-BE49-F238E27FC236}">
                <a16:creationId xmlns="" xmlns:a16="http://schemas.microsoft.com/office/drawing/2014/main" id="{FE0F0267-58D4-44C9-A875-EC1259853453}"/>
              </a:ext>
            </a:extLst>
          </p:cNvPr>
          <p:cNvCxnSpPr>
            <a:stCxn id="53" idx="4"/>
            <a:endCxn id="59" idx="0"/>
          </p:cNvCxnSpPr>
          <p:nvPr/>
        </p:nvCxnSpPr>
        <p:spPr>
          <a:xfrm rot="16200000" flipH="1">
            <a:off x="8153480" y="3498662"/>
            <a:ext cx="231853" cy="524576"/>
          </a:xfrm>
          <a:prstGeom prst="bentConnector3">
            <a:avLst>
              <a:gd name="adj1" fmla="val 50000"/>
            </a:avLst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2" name="Группа 71">
            <a:extLst>
              <a:ext uri="{FF2B5EF4-FFF2-40B4-BE49-F238E27FC236}">
                <a16:creationId xmlns="" xmlns:a16="http://schemas.microsoft.com/office/drawing/2014/main" id="{E6376453-656F-429D-8B2F-B6BC10AF4CED}"/>
              </a:ext>
            </a:extLst>
          </p:cNvPr>
          <p:cNvGrpSpPr/>
          <p:nvPr/>
        </p:nvGrpSpPr>
        <p:grpSpPr>
          <a:xfrm>
            <a:off x="464021" y="1077108"/>
            <a:ext cx="360000" cy="360000"/>
            <a:chOff x="3375542" y="2868765"/>
            <a:chExt cx="807720" cy="807720"/>
          </a:xfrm>
        </p:grpSpPr>
        <p:sp>
          <p:nvSpPr>
            <p:cNvPr id="73" name="Овал 72">
              <a:extLst>
                <a:ext uri="{FF2B5EF4-FFF2-40B4-BE49-F238E27FC236}">
                  <a16:creationId xmlns="" xmlns:a16="http://schemas.microsoft.com/office/drawing/2014/main" id="{4AF0585C-177C-4F4B-8D3E-D6CC8403D6F3}"/>
                </a:ext>
              </a:extLst>
            </p:cNvPr>
            <p:cNvSpPr/>
            <p:nvPr/>
          </p:nvSpPr>
          <p:spPr>
            <a:xfrm>
              <a:off x="3375542" y="2868765"/>
              <a:ext cx="807720" cy="80772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74" name="Рисунок 73" descr="Изображение выглядит как предмет, объект&#10;&#10;Описание создано с высокой степенью достоверности">
              <a:extLst>
                <a:ext uri="{FF2B5EF4-FFF2-40B4-BE49-F238E27FC236}">
                  <a16:creationId xmlns="" xmlns:a16="http://schemas.microsoft.com/office/drawing/2014/main" id="{70FCC4F7-B038-41A6-AB09-B04A68312E5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67154" y="2960377"/>
              <a:ext cx="624495" cy="624495"/>
            </a:xfrm>
            <a:prstGeom prst="rect">
              <a:avLst/>
            </a:prstGeom>
          </p:spPr>
        </p:pic>
      </p:grpSp>
      <p:grpSp>
        <p:nvGrpSpPr>
          <p:cNvPr id="75" name="Группа 74">
            <a:extLst>
              <a:ext uri="{FF2B5EF4-FFF2-40B4-BE49-F238E27FC236}">
                <a16:creationId xmlns="" xmlns:a16="http://schemas.microsoft.com/office/drawing/2014/main" id="{3CB296D3-58D3-4624-86E1-1B9B728423EA}"/>
              </a:ext>
            </a:extLst>
          </p:cNvPr>
          <p:cNvGrpSpPr/>
          <p:nvPr/>
        </p:nvGrpSpPr>
        <p:grpSpPr>
          <a:xfrm>
            <a:off x="6592153" y="1063250"/>
            <a:ext cx="360000" cy="360000"/>
            <a:chOff x="4753153" y="2868765"/>
            <a:chExt cx="807720" cy="807720"/>
          </a:xfrm>
        </p:grpSpPr>
        <p:sp>
          <p:nvSpPr>
            <p:cNvPr id="76" name="Овал 75">
              <a:extLst>
                <a:ext uri="{FF2B5EF4-FFF2-40B4-BE49-F238E27FC236}">
                  <a16:creationId xmlns="" xmlns:a16="http://schemas.microsoft.com/office/drawing/2014/main" id="{BCF82E91-C641-4549-9FF2-44AD9523B199}"/>
                </a:ext>
              </a:extLst>
            </p:cNvPr>
            <p:cNvSpPr/>
            <p:nvPr/>
          </p:nvSpPr>
          <p:spPr>
            <a:xfrm>
              <a:off x="4753153" y="2868765"/>
              <a:ext cx="807720" cy="80772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77" name="Рисунок 76" descr="Изображение выглядит как предмет, объект&#10;&#10;Описание создано с высокой степенью достоверности">
              <a:extLst>
                <a:ext uri="{FF2B5EF4-FFF2-40B4-BE49-F238E27FC236}">
                  <a16:creationId xmlns="" xmlns:a16="http://schemas.microsoft.com/office/drawing/2014/main" id="{2BC34372-8EF5-49D5-BD36-AE4D709CF65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4765" y="2960377"/>
              <a:ext cx="624495" cy="624495"/>
            </a:xfrm>
            <a:prstGeom prst="rect">
              <a:avLst/>
            </a:prstGeom>
          </p:spPr>
        </p:pic>
      </p:grpSp>
      <p:sp>
        <p:nvSpPr>
          <p:cNvPr id="78" name="Прямоугольник 77">
            <a:extLst>
              <a:ext uri="{FF2B5EF4-FFF2-40B4-BE49-F238E27FC236}">
                <a16:creationId xmlns="" xmlns:a16="http://schemas.microsoft.com/office/drawing/2014/main" id="{D23EDD69-B603-4A08-8348-846C529BD057}"/>
              </a:ext>
            </a:extLst>
          </p:cNvPr>
          <p:cNvSpPr/>
          <p:nvPr/>
        </p:nvSpPr>
        <p:spPr>
          <a:xfrm>
            <a:off x="789386" y="1014809"/>
            <a:ext cx="181530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/>
              <a:t>Расчеты с поставщиками</a:t>
            </a:r>
          </a:p>
          <a:p>
            <a:r>
              <a:rPr lang="ru-RU" sz="1200" b="1" dirty="0"/>
              <a:t>ТРАДИЦИОННЫЙ</a:t>
            </a:r>
          </a:p>
        </p:txBody>
      </p:sp>
      <p:sp>
        <p:nvSpPr>
          <p:cNvPr id="79" name="Прямоугольник 78">
            <a:extLst>
              <a:ext uri="{FF2B5EF4-FFF2-40B4-BE49-F238E27FC236}">
                <a16:creationId xmlns="" xmlns:a16="http://schemas.microsoft.com/office/drawing/2014/main" id="{E7A6E6C1-478A-4A41-BF38-F97D5C75AC32}"/>
              </a:ext>
            </a:extLst>
          </p:cNvPr>
          <p:cNvSpPr/>
          <p:nvPr/>
        </p:nvSpPr>
        <p:spPr>
          <a:xfrm>
            <a:off x="6863505" y="1014809"/>
            <a:ext cx="233390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/>
              <a:t>Расчеты с поставщиками </a:t>
            </a:r>
          </a:p>
          <a:p>
            <a:r>
              <a:rPr lang="ru-RU" sz="1200" b="1" dirty="0"/>
              <a:t>ЧЕРЕЗ </a:t>
            </a:r>
            <a:r>
              <a:rPr lang="ru-RU" sz="1200" b="1" dirty="0" smtClean="0"/>
              <a:t>КОНТРОЛЬНЫЙ СЧЕТ НДС</a:t>
            </a:r>
            <a:endParaRPr lang="ru-RU" sz="1200" b="1" dirty="0"/>
          </a:p>
        </p:txBody>
      </p:sp>
      <p:sp>
        <p:nvSpPr>
          <p:cNvPr id="80" name="Прямоугольник: скругленные углы 91">
            <a:extLst>
              <a:ext uri="{FF2B5EF4-FFF2-40B4-BE49-F238E27FC236}">
                <a16:creationId xmlns="" xmlns:a16="http://schemas.microsoft.com/office/drawing/2014/main" id="{1A9D85CF-C63B-4B62-95BC-5F9E5AFC5A16}"/>
              </a:ext>
            </a:extLst>
          </p:cNvPr>
          <p:cNvSpPr/>
          <p:nvPr/>
        </p:nvSpPr>
        <p:spPr>
          <a:xfrm>
            <a:off x="133351" y="4658748"/>
            <a:ext cx="4219231" cy="1234325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1" name="Прямоугольник: скругленные углы 92">
            <a:extLst>
              <a:ext uri="{FF2B5EF4-FFF2-40B4-BE49-F238E27FC236}">
                <a16:creationId xmlns="" xmlns:a16="http://schemas.microsoft.com/office/drawing/2014/main" id="{8A44E9C6-BEDB-4BA2-9043-89F35024AE79}"/>
              </a:ext>
            </a:extLst>
          </p:cNvPr>
          <p:cNvSpPr/>
          <p:nvPr/>
        </p:nvSpPr>
        <p:spPr>
          <a:xfrm>
            <a:off x="4757856" y="4658748"/>
            <a:ext cx="4219231" cy="1234325"/>
          </a:xfrm>
          <a:prstGeom prst="roundRect">
            <a:avLst/>
          </a:prstGeom>
          <a:noFill/>
          <a:ln w="28575">
            <a:solidFill>
              <a:srgbClr val="00B05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82" name="Прямая со стрелкой 81">
            <a:extLst>
              <a:ext uri="{FF2B5EF4-FFF2-40B4-BE49-F238E27FC236}">
                <a16:creationId xmlns="" xmlns:a16="http://schemas.microsoft.com/office/drawing/2014/main" id="{2B83B42C-FB20-463E-8EEE-CF3B5B259C99}"/>
              </a:ext>
            </a:extLst>
          </p:cNvPr>
          <p:cNvCxnSpPr>
            <a:stCxn id="56" idx="4"/>
          </p:cNvCxnSpPr>
          <p:nvPr/>
        </p:nvCxnSpPr>
        <p:spPr>
          <a:xfrm flipH="1">
            <a:off x="6747510" y="4509120"/>
            <a:ext cx="47147" cy="149628"/>
          </a:xfrm>
          <a:prstGeom prst="straightConnector1">
            <a:avLst/>
          </a:prstGeom>
          <a:ln w="28575">
            <a:solidFill>
              <a:srgbClr val="00B050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Прямая со стрелкой 82">
            <a:extLst>
              <a:ext uri="{FF2B5EF4-FFF2-40B4-BE49-F238E27FC236}">
                <a16:creationId xmlns="" xmlns:a16="http://schemas.microsoft.com/office/drawing/2014/main" id="{8F6E6F2C-F760-4264-9E93-6ABE53856D5A}"/>
              </a:ext>
            </a:extLst>
          </p:cNvPr>
          <p:cNvCxnSpPr/>
          <p:nvPr/>
        </p:nvCxnSpPr>
        <p:spPr>
          <a:xfrm>
            <a:off x="8531694" y="4317174"/>
            <a:ext cx="0" cy="341574"/>
          </a:xfrm>
          <a:prstGeom prst="straightConnector1">
            <a:avLst/>
          </a:prstGeom>
          <a:ln w="28575">
            <a:solidFill>
              <a:srgbClr val="00B050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Прямая со стрелкой 83">
            <a:extLst>
              <a:ext uri="{FF2B5EF4-FFF2-40B4-BE49-F238E27FC236}">
                <a16:creationId xmlns="" xmlns:a16="http://schemas.microsoft.com/office/drawing/2014/main" id="{8A39B25B-90F9-402F-A084-10863D7BC0D0}"/>
              </a:ext>
            </a:extLst>
          </p:cNvPr>
          <p:cNvCxnSpPr/>
          <p:nvPr/>
        </p:nvCxnSpPr>
        <p:spPr>
          <a:xfrm>
            <a:off x="4136008" y="4317174"/>
            <a:ext cx="0" cy="341574"/>
          </a:xfrm>
          <a:prstGeom prst="straightConnector1">
            <a:avLst/>
          </a:prstGeom>
          <a:ln w="28575">
            <a:solidFill>
              <a:srgbClr val="FF0000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Прямая со стрелкой 84">
            <a:extLst>
              <a:ext uri="{FF2B5EF4-FFF2-40B4-BE49-F238E27FC236}">
                <a16:creationId xmlns="" xmlns:a16="http://schemas.microsoft.com/office/drawing/2014/main" id="{C60A4371-383E-4D1B-9738-8E3C75FBE245}"/>
              </a:ext>
            </a:extLst>
          </p:cNvPr>
          <p:cNvCxnSpPr>
            <a:cxnSpLocks/>
          </p:cNvCxnSpPr>
          <p:nvPr/>
        </p:nvCxnSpPr>
        <p:spPr>
          <a:xfrm>
            <a:off x="665200" y="4265208"/>
            <a:ext cx="0" cy="393540"/>
          </a:xfrm>
          <a:prstGeom prst="straightConnector1">
            <a:avLst/>
          </a:prstGeom>
          <a:ln w="28575">
            <a:solidFill>
              <a:srgbClr val="FF0000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Прямая со стрелкой 85">
            <a:extLst>
              <a:ext uri="{FF2B5EF4-FFF2-40B4-BE49-F238E27FC236}">
                <a16:creationId xmlns="" xmlns:a16="http://schemas.microsoft.com/office/drawing/2014/main" id="{888FA8F9-2A55-48CF-A40C-45350FBB3429}"/>
              </a:ext>
            </a:extLst>
          </p:cNvPr>
          <p:cNvCxnSpPr>
            <a:cxnSpLocks/>
          </p:cNvCxnSpPr>
          <p:nvPr/>
        </p:nvCxnSpPr>
        <p:spPr>
          <a:xfrm>
            <a:off x="3264018" y="3947443"/>
            <a:ext cx="0" cy="711305"/>
          </a:xfrm>
          <a:prstGeom prst="straightConnector1">
            <a:avLst/>
          </a:prstGeom>
          <a:ln w="28575">
            <a:solidFill>
              <a:srgbClr val="FF0000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Прямоугольник 86">
            <a:extLst>
              <a:ext uri="{FF2B5EF4-FFF2-40B4-BE49-F238E27FC236}">
                <a16:creationId xmlns="" xmlns:a16="http://schemas.microsoft.com/office/drawing/2014/main" id="{BFA69218-A20F-453E-B39E-FC9A9B322EAB}"/>
              </a:ext>
            </a:extLst>
          </p:cNvPr>
          <p:cNvSpPr/>
          <p:nvPr/>
        </p:nvSpPr>
        <p:spPr>
          <a:xfrm>
            <a:off x="569342" y="5949280"/>
            <a:ext cx="844076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dirty="0"/>
              <a:t>Выстраивание цепочки поставок  с использованием  </a:t>
            </a:r>
            <a:r>
              <a:rPr lang="ru-RU" dirty="0" smtClean="0"/>
              <a:t>контрольного счета НДС</a:t>
            </a:r>
            <a:endParaRPr lang="ru-RU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dirty="0"/>
              <a:t>Высвобождение ресурсов КГД на  проведение проверок  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894999" y="6413048"/>
            <a:ext cx="2133600" cy="365125"/>
          </a:xfrm>
        </p:spPr>
        <p:txBody>
          <a:bodyPr/>
          <a:lstStyle/>
          <a:p>
            <a:fld id="{475124D0-E098-4E81-9395-C7688EF7B566}" type="slidenum">
              <a:rPr lang="ru-RU" smtClean="0"/>
              <a:t>1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02445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527050" y="759826"/>
            <a:ext cx="8280400" cy="720197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endParaRPr lang="kk-KZ" dirty="0" smtClean="0"/>
          </a:p>
          <a:p>
            <a:pPr algn="just"/>
            <a:r>
              <a:rPr lang="kk-KZ" dirty="0" smtClean="0"/>
              <a:t>         </a:t>
            </a:r>
            <a:r>
              <a:rPr lang="kk-KZ" sz="2000" dirty="0" smtClean="0"/>
              <a:t>Предлагается  </a:t>
            </a:r>
            <a:r>
              <a:rPr lang="kk-KZ" sz="2000" dirty="0"/>
              <a:t>внесение  поправок в Налоговый кодекс </a:t>
            </a:r>
            <a:r>
              <a:rPr lang="kk-KZ" sz="2000" i="1" dirty="0"/>
              <a:t>(с введением в действие с 1 января  2019 года),</a:t>
            </a:r>
            <a:r>
              <a:rPr lang="kk-KZ" sz="2000" dirty="0"/>
              <a:t> которые </a:t>
            </a:r>
            <a:r>
              <a:rPr lang="ru-RU" sz="2000" dirty="0"/>
              <a:t>направлены на </a:t>
            </a:r>
            <a:r>
              <a:rPr lang="kk-KZ" sz="2000" dirty="0"/>
              <a:t>упрощение процедуры возврата </a:t>
            </a:r>
            <a:r>
              <a:rPr lang="ru-RU" sz="2000" dirty="0" smtClean="0"/>
              <a:t>налогоплательщикам  которые используют Контрольный счет </a:t>
            </a:r>
            <a:r>
              <a:rPr lang="ru-RU" sz="2000" dirty="0"/>
              <a:t>НДС и, в том числе</a:t>
            </a:r>
            <a:r>
              <a:rPr lang="ru-RU" sz="2000" dirty="0" smtClean="0"/>
              <a:t>:</a:t>
            </a:r>
          </a:p>
          <a:p>
            <a:endParaRPr lang="en-US" sz="2000" dirty="0"/>
          </a:p>
          <a:p>
            <a:pPr marL="285750" lvl="0" indent="-285750" algn="just">
              <a:buFont typeface="Wingdings" panose="05000000000000000000" pitchFamily="2" charset="2"/>
              <a:buChar char="ü"/>
            </a:pPr>
            <a:r>
              <a:rPr lang="ru-RU" sz="2000" dirty="0" err="1" smtClean="0"/>
              <a:t>автовозврат</a:t>
            </a:r>
            <a:r>
              <a:rPr lang="ru-RU" sz="2000" dirty="0" smtClean="0"/>
              <a:t>  НДС без проведения проверок в течение 15 рабочих дней </a:t>
            </a:r>
            <a:r>
              <a:rPr lang="ru-RU" sz="2000" i="1" dirty="0" smtClean="0"/>
              <a:t>(Пункт 6 Статьи 433 НК) </a:t>
            </a:r>
          </a:p>
          <a:p>
            <a:pPr marL="285750" lvl="0" indent="-285750" algn="just">
              <a:buFont typeface="Wingdings" panose="05000000000000000000" pitchFamily="2" charset="2"/>
              <a:buChar char="ü"/>
            </a:pPr>
            <a:endParaRPr lang="en-US" sz="2000" dirty="0"/>
          </a:p>
          <a:p>
            <a:pPr marL="285750" lvl="0" indent="-285750" algn="just">
              <a:buFont typeface="Wingdings" panose="05000000000000000000" pitchFamily="2" charset="2"/>
              <a:buChar char="ü"/>
            </a:pPr>
            <a:r>
              <a:rPr lang="ru-RU" sz="2000" dirty="0"/>
              <a:t>отмена норм по подтверждению предъявленных сумм к возврату при экспорте товаров с учетом поступившей валютной выручки </a:t>
            </a:r>
            <a:r>
              <a:rPr lang="ru-RU" sz="2000" i="1" dirty="0"/>
              <a:t>(пункт 7 статьи 152 НК</a:t>
            </a:r>
            <a:r>
              <a:rPr lang="ru-RU" sz="2000" i="1" dirty="0" smtClean="0"/>
              <a:t>) </a:t>
            </a:r>
          </a:p>
          <a:p>
            <a:pPr marL="285750" lvl="0" indent="-285750" algn="just">
              <a:buFont typeface="Wingdings" panose="05000000000000000000" pitchFamily="2" charset="2"/>
              <a:buChar char="ü"/>
            </a:pPr>
            <a:endParaRPr lang="en-US" sz="2000" dirty="0"/>
          </a:p>
          <a:p>
            <a:pPr marL="285750" lvl="0" indent="-285750" algn="just">
              <a:buFont typeface="Wingdings" panose="05000000000000000000" pitchFamily="2" charset="2"/>
              <a:buChar char="ü"/>
            </a:pPr>
            <a:r>
              <a:rPr lang="ru-RU" sz="2000" dirty="0"/>
              <a:t> отмена норм по наличию товаросопроводительных документов при экспорте товаров </a:t>
            </a:r>
            <a:r>
              <a:rPr lang="ru-RU" sz="2000" i="1" dirty="0"/>
              <a:t>(подпункт 4 Пункта 2 статьи 386 НК</a:t>
            </a:r>
            <a:r>
              <a:rPr lang="ru-RU" sz="2000" i="1" dirty="0" smtClean="0"/>
              <a:t>)</a:t>
            </a:r>
          </a:p>
          <a:p>
            <a:pPr marL="285750" lvl="0" indent="-285750" algn="just">
              <a:buFont typeface="Wingdings" panose="05000000000000000000" pitchFamily="2" charset="2"/>
              <a:buChar char="ü"/>
            </a:pPr>
            <a:endParaRPr lang="en-US" sz="2000" dirty="0"/>
          </a:p>
          <a:p>
            <a:pPr marL="285750" lvl="0" indent="-285750" algn="just">
              <a:buFont typeface="Wingdings" panose="05000000000000000000" pitchFamily="2" charset="2"/>
              <a:buChar char="ü"/>
            </a:pPr>
            <a:r>
              <a:rPr lang="ru-RU" sz="2000" dirty="0"/>
              <a:t> </a:t>
            </a:r>
            <a:r>
              <a:rPr lang="ru-RU" sz="2000" dirty="0" err="1"/>
              <a:t>автовозврат</a:t>
            </a:r>
            <a:r>
              <a:rPr lang="ru-RU" sz="2000" dirty="0"/>
              <a:t> до 100% для налогоплательщиков, состоящих на налоговом мониторинге </a:t>
            </a:r>
            <a:r>
              <a:rPr lang="ru-RU" sz="2000" i="1" dirty="0"/>
              <a:t>(в </a:t>
            </a:r>
            <a:r>
              <a:rPr lang="ru-RU" sz="2000" i="1" dirty="0" err="1"/>
              <a:t>т.ч</a:t>
            </a:r>
            <a:r>
              <a:rPr lang="ru-RU" sz="2000" i="1" dirty="0"/>
              <a:t>. для крупных налогоплательщиков с 70% , для горизонтального мониторинга с 90%)</a:t>
            </a:r>
            <a:r>
              <a:rPr lang="ru-RU" sz="2000" dirty="0"/>
              <a:t>  </a:t>
            </a:r>
            <a:r>
              <a:rPr lang="ru-RU" sz="2000" i="1" dirty="0"/>
              <a:t>(Пункт 5 Статьи 429 НК</a:t>
            </a:r>
            <a:r>
              <a:rPr lang="ru-RU" sz="2000" i="1" dirty="0" smtClean="0"/>
              <a:t>).</a:t>
            </a:r>
            <a:endParaRPr lang="en-US" sz="2000" dirty="0"/>
          </a:p>
          <a:p>
            <a:pPr algn="just"/>
            <a:r>
              <a:rPr lang="ru-RU" sz="2000" dirty="0"/>
              <a:t> </a:t>
            </a:r>
            <a:endParaRPr lang="en-US" sz="2000" dirty="0"/>
          </a:p>
          <a:p>
            <a:r>
              <a:rPr lang="ru-RU" sz="2000" dirty="0"/>
              <a:t> </a:t>
            </a:r>
            <a:endParaRPr lang="en-US" sz="2000" dirty="0"/>
          </a:p>
          <a:p>
            <a:pPr marL="457200" indent="-45720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endParaRPr lang="ru-RU" sz="2400" dirty="0">
              <a:latin typeface="+mn-lt"/>
            </a:endParaRPr>
          </a:p>
        </p:txBody>
      </p:sp>
      <p:sp>
        <p:nvSpPr>
          <p:cNvPr id="39940" name="TextBox 4"/>
          <p:cNvSpPr txBox="1">
            <a:spLocks noChangeArrowheads="1"/>
          </p:cNvSpPr>
          <p:nvPr/>
        </p:nvSpPr>
        <p:spPr bwMode="auto">
          <a:xfrm>
            <a:off x="8545513" y="6550025"/>
            <a:ext cx="56038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b="1" dirty="0" smtClean="0">
                <a:latin typeface="+mn-lt"/>
              </a:rPr>
              <a:t>17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793" y="0"/>
            <a:ext cx="9144793" cy="76206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 rot="10800000" flipV="1">
            <a:off x="134754" y="165589"/>
            <a:ext cx="885524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2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ТОДОЛОГИЯ </a:t>
            </a:r>
            <a:endParaRPr lang="en-US" sz="22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6428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9144000" cy="759125"/>
          </a:xfrm>
          <a:prstGeom prst="rect">
            <a:avLst/>
          </a:prstGeom>
          <a:gradFill flip="none" rotWithShape="1">
            <a:gsLst>
              <a:gs pos="0">
                <a:srgbClr val="002060"/>
              </a:gs>
              <a:gs pos="100000">
                <a:srgbClr val="0036A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155275" y="179507"/>
            <a:ext cx="867817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22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КУЩАЯ  СИТУАЦИЯ АДМИНИСТРИРОВАНИЯ НДС В РК </a:t>
            </a:r>
            <a:endParaRPr lang="en-US" sz="2200" b="1" cap="all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204944" y="1720968"/>
            <a:ext cx="560196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2400" dirty="0" smtClean="0">
                <a:cs typeface="Arial" panose="020B0604020202020204" pitchFamily="34" charset="0"/>
              </a:rPr>
              <a:t>Длительность сроков </a:t>
            </a:r>
            <a:r>
              <a:rPr lang="ru-RU" sz="2400" dirty="0">
                <a:cs typeface="Arial" panose="020B0604020202020204" pitchFamily="34" charset="0"/>
              </a:rPr>
              <a:t>возврата превышения НДС (</a:t>
            </a:r>
            <a:r>
              <a:rPr lang="ru-RU" sz="2400" dirty="0" smtClean="0">
                <a:cs typeface="Arial" panose="020B0604020202020204" pitchFamily="34" charset="0"/>
              </a:rPr>
              <a:t>55/155 дней</a:t>
            </a:r>
            <a:r>
              <a:rPr lang="ru-RU" sz="2400" dirty="0">
                <a:cs typeface="Arial" panose="020B0604020202020204" pitchFamily="34" charset="0"/>
              </a:rPr>
              <a:t>)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208362" y="3117343"/>
            <a:ext cx="5986732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2400" dirty="0">
                <a:cs typeface="Arial" panose="020B0604020202020204" pitchFamily="34" charset="0"/>
              </a:rPr>
              <a:t>Возврат НДС предусмотрен только для отдельных категорий налогоплательщиков - предприятия мониторинга, экспортеры и участники международных перевозок</a:t>
            </a:r>
            <a:endParaRPr lang="ru-RU" sz="2400" dirty="0"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329131" y="5281451"/>
            <a:ext cx="547777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2400" dirty="0">
                <a:cs typeface="Arial" panose="020B0604020202020204" pitchFamily="34" charset="0"/>
              </a:rPr>
              <a:t>Низкий уровень собираемости налогов</a:t>
            </a:r>
            <a:endParaRPr lang="en-US" sz="2400" dirty="0">
              <a:cs typeface="Arial" panose="020B0604020202020204" pitchFamily="34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432" y="1758350"/>
            <a:ext cx="756232" cy="756232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296" y="5252381"/>
            <a:ext cx="796804" cy="796804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995" y="3117343"/>
            <a:ext cx="843105" cy="843105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EA3790-3D54-457D-9468-15F6B330E1BE}" type="slidenum">
              <a:rPr lang="ru-RU" smtClean="0"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31570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Прямоугольник 84"/>
          <p:cNvSpPr/>
          <p:nvPr/>
        </p:nvSpPr>
        <p:spPr>
          <a:xfrm>
            <a:off x="0" y="5163281"/>
            <a:ext cx="9144000" cy="98341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6" name="Прямоугольник 85"/>
          <p:cNvSpPr/>
          <p:nvPr/>
        </p:nvSpPr>
        <p:spPr>
          <a:xfrm>
            <a:off x="155275" y="5054821"/>
            <a:ext cx="69874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7200" b="1" dirty="0" smtClean="0">
                <a:solidFill>
                  <a:srgbClr val="0036A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  <a:endParaRPr lang="ru-RU" sz="7200" b="1" dirty="0">
              <a:solidFill>
                <a:srgbClr val="0036A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0" y="0"/>
            <a:ext cx="9144000" cy="759125"/>
          </a:xfrm>
          <a:prstGeom prst="rect">
            <a:avLst/>
          </a:prstGeom>
          <a:gradFill flip="none" rotWithShape="1">
            <a:gsLst>
              <a:gs pos="0">
                <a:srgbClr val="002060"/>
              </a:gs>
              <a:gs pos="100000">
                <a:srgbClr val="0036A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155275" y="129829"/>
            <a:ext cx="867817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22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ОВЫЙ МЕТОД АДМИНИСТРИРОВАНИЯ НДС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0" y="1975450"/>
            <a:ext cx="9144000" cy="98341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3426046" y="1315376"/>
            <a:ext cx="229190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Arial" panose="020B0604020202020204" pitchFamily="34" charset="0"/>
              </a:rPr>
              <a:t>ПРЕДЛАГАЕТСЯ:</a:t>
            </a: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155275" y="1866990"/>
            <a:ext cx="69874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7200" b="1" dirty="0" smtClean="0">
                <a:solidFill>
                  <a:srgbClr val="0036A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</a:t>
            </a:r>
            <a:endParaRPr lang="ru-RU" sz="7200" b="1" dirty="0">
              <a:solidFill>
                <a:srgbClr val="0036A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266724" y="2113212"/>
            <a:ext cx="697150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Arial" panose="020B0604020202020204" pitchFamily="34" charset="0"/>
              </a:rPr>
              <a:t>С </a:t>
            </a:r>
            <a:r>
              <a:rPr 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Arial" panose="020B0604020202020204" pitchFamily="34" charset="0"/>
              </a:rPr>
              <a:t>1 ЯНВАРЯ 2019 </a:t>
            </a:r>
            <a:r>
              <a:rPr lang="ru-RU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Arial" panose="020B0604020202020204" pitchFamily="34" charset="0"/>
              </a:rPr>
              <a:t>ГОДА В КАЗАХСТАНЕ  ИСПОЛЬЗОВАТЬ КОНТРОЛЬНЫЙ  СЧЕТ НДС </a:t>
            </a:r>
            <a:r>
              <a:rPr 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Arial" panose="020B0604020202020204" pitchFamily="34" charset="0"/>
              </a:rPr>
              <a:t>НА ДОБРОВОЛЬНОЙ ОСНОВЕ</a:t>
            </a:r>
            <a:endParaRPr lang="ru-RU" sz="2000" b="1" dirty="0">
              <a:solidFill>
                <a:schemeClr val="tx1">
                  <a:lumMod val="75000"/>
                  <a:lumOff val="25000"/>
                </a:schemeClr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0" y="3265470"/>
            <a:ext cx="9144000" cy="15912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0" name="Прямоугольник 69"/>
          <p:cNvSpPr/>
          <p:nvPr/>
        </p:nvSpPr>
        <p:spPr>
          <a:xfrm>
            <a:off x="155275" y="3460906"/>
            <a:ext cx="69874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7200" b="1" dirty="0" smtClean="0">
                <a:solidFill>
                  <a:srgbClr val="0036A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  <a:endParaRPr lang="ru-RU" sz="7200" b="1" dirty="0">
              <a:solidFill>
                <a:srgbClr val="0036A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8" name="Прямоугольник 77"/>
          <p:cNvSpPr/>
          <p:nvPr/>
        </p:nvSpPr>
        <p:spPr>
          <a:xfrm>
            <a:off x="1266724" y="3403231"/>
            <a:ext cx="7299306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Arial" panose="020B0604020202020204" pitchFamily="34" charset="0"/>
              </a:rPr>
              <a:t>ВПЕРВЫЕ ОСУЩЕСТВЛЯТЬ ВОЗВРАТ НДС ПО ПРИОБРЕТЕННЫМ ТОВАРАМ ВНУТРИ СТРАНЫ НАЛОГОПЛАТЕЛЬЩИКАМ, НЕ ИМЕЮЩИМ ОБОРОТЫ, ОБЛАГАЕМЫЕ ПО «0» СТАВКЕ. </a:t>
            </a:r>
          </a:p>
          <a:p>
            <a:pPr algn="just"/>
            <a:r>
              <a:rPr lang="ru-RU" sz="1600" i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Arial" panose="020B0604020202020204" pitchFamily="34" charset="0"/>
              </a:rPr>
              <a:t>ПЕРЕЧЕНЬ ТОВАРОВ БУДЕТ УТВЕРЖДАТЬСЯ УПОЛНОМОЧЕННЫМ ОРГАНОМ</a:t>
            </a:r>
            <a:endParaRPr lang="ru-RU" sz="1600" b="1" i="1" u="sng" dirty="0">
              <a:solidFill>
                <a:schemeClr val="tx1">
                  <a:lumMod val="75000"/>
                  <a:lumOff val="25000"/>
                </a:schemeClr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84" name="Прямоугольник 83"/>
          <p:cNvSpPr/>
          <p:nvPr/>
        </p:nvSpPr>
        <p:spPr>
          <a:xfrm>
            <a:off x="1266724" y="5301042"/>
            <a:ext cx="729930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Arial" panose="020B0604020202020204" pitchFamily="34" charset="0"/>
              </a:rPr>
              <a:t>МЕХАНИЗМ КОНТРОЛЬНЫХ СЧЕТОВ НДС ВНЕДРИТЬ С ПРИМЕНЕНИЕМ </a:t>
            </a:r>
            <a:r>
              <a:rPr 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Arial" panose="020B0604020202020204" pitchFamily="34" charset="0"/>
              </a:rPr>
              <a:t>ТЕХНОЛОГИИ BLOCKCHAIN</a:t>
            </a:r>
            <a:endParaRPr lang="ru-RU" sz="2000" b="1" u="sng" dirty="0">
              <a:solidFill>
                <a:schemeClr val="tx1">
                  <a:lumMod val="75000"/>
                  <a:lumOff val="25000"/>
                </a:schemeClr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0F52CE-B24A-4C0A-B48F-3DC51A541F50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4055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517585" y="907613"/>
            <a:ext cx="8626415" cy="11869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0" y="0"/>
            <a:ext cx="9144000" cy="759125"/>
          </a:xfrm>
          <a:prstGeom prst="rect">
            <a:avLst/>
          </a:prstGeom>
          <a:gradFill flip="none" rotWithShape="1">
            <a:gsLst>
              <a:gs pos="0">
                <a:srgbClr val="002060"/>
              </a:gs>
              <a:gs pos="100000">
                <a:srgbClr val="0036A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0" y="151863"/>
            <a:ext cx="898872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22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НТРОЛЬНЫЕ СЧЕТА ДЛЯ УЧЕТА НДС – КС-НДС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285999" y="930248"/>
            <a:ext cx="659359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Оплата сумм НДС по сделке производится через</a:t>
            </a:r>
            <a:r>
              <a:rPr lang="ru-RU" b="1" dirty="0" smtClean="0"/>
              <a:t> контрольный счет НДС</a:t>
            </a:r>
            <a:r>
              <a:rPr lang="ru-RU" dirty="0" smtClean="0"/>
              <a:t>:</a:t>
            </a:r>
          </a:p>
          <a:p>
            <a:pPr marL="176213" indent="88900">
              <a:buFont typeface="Arial" pitchFamily="34" charset="0"/>
              <a:buChar char="•"/>
            </a:pPr>
            <a:r>
              <a:rPr lang="ru-RU" dirty="0" smtClean="0"/>
              <a:t> Отслеживание </a:t>
            </a:r>
            <a:r>
              <a:rPr lang="ru-RU" dirty="0"/>
              <a:t>финансовых потоков НДС в реальном </a:t>
            </a:r>
            <a:r>
              <a:rPr lang="ru-RU" dirty="0" smtClean="0"/>
              <a:t>времени</a:t>
            </a:r>
          </a:p>
          <a:p>
            <a:pPr marL="176213" indent="88900">
              <a:buFont typeface="Arial" pitchFamily="34" charset="0"/>
              <a:buChar char="•"/>
            </a:pPr>
            <a:r>
              <a:rPr lang="ru-RU" dirty="0" smtClean="0"/>
              <a:t> Автоматическая </a:t>
            </a:r>
            <a:r>
              <a:rPr lang="ru-RU" dirty="0"/>
              <a:t>сверка </a:t>
            </a:r>
            <a:r>
              <a:rPr lang="ru-RU" dirty="0" smtClean="0"/>
              <a:t>оплаты НДС </a:t>
            </a:r>
            <a:r>
              <a:rPr lang="ru-RU" dirty="0"/>
              <a:t>с </a:t>
            </a:r>
            <a:r>
              <a:rPr lang="ru-RU" dirty="0" smtClean="0"/>
              <a:t>ЭСФ </a:t>
            </a:r>
            <a:endParaRPr lang="ru-RU" dirty="0"/>
          </a:p>
        </p:txBody>
      </p:sp>
      <p:sp>
        <p:nvSpPr>
          <p:cNvPr id="9" name="Пятиугольник 8"/>
          <p:cNvSpPr/>
          <p:nvPr/>
        </p:nvSpPr>
        <p:spPr>
          <a:xfrm>
            <a:off x="267419" y="996350"/>
            <a:ext cx="1871932" cy="1151939"/>
          </a:xfrm>
          <a:prstGeom prst="homePlate">
            <a:avLst>
              <a:gd name="adj" fmla="val 2095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ОСНОВНОЙ ПРИНЦИП</a:t>
            </a:r>
            <a:endParaRPr lang="ru-RU" b="1" dirty="0"/>
          </a:p>
        </p:txBody>
      </p:sp>
      <p:sp>
        <p:nvSpPr>
          <p:cNvPr id="17" name="Rectangle: Rounded Corners 47">
            <a:extLst>
              <a:ext uri="{FF2B5EF4-FFF2-40B4-BE49-F238E27FC236}">
                <a16:creationId xmlns="" xmlns:a16="http://schemas.microsoft.com/office/drawing/2014/main" id="{E2C759DF-C3F3-4BC0-A329-24C267B32EF8}"/>
              </a:ext>
            </a:extLst>
          </p:cNvPr>
          <p:cNvSpPr/>
          <p:nvPr/>
        </p:nvSpPr>
        <p:spPr>
          <a:xfrm>
            <a:off x="3029132" y="2514280"/>
            <a:ext cx="3085736" cy="2097484"/>
          </a:xfrm>
          <a:prstGeom prst="roundRect">
            <a:avLst>
              <a:gd name="adj" fmla="val 10498"/>
            </a:avLst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0" rtlCol="0" anchor="ctr"/>
          <a:lstStyle/>
          <a:p>
            <a:pPr marL="108000" algn="ctr"/>
            <a:r>
              <a:rPr lang="ru-RU" sz="2000" dirty="0" smtClean="0">
                <a:ea typeface="Tahoma" panose="020B0604030504040204" pitchFamily="34" charset="0"/>
                <a:cs typeface="Arial" panose="020B0604020202020204" pitchFamily="34" charset="0"/>
              </a:rPr>
              <a:t/>
            </a:r>
            <a:br>
              <a:rPr lang="ru-RU" sz="2000" dirty="0" smtClean="0">
                <a:ea typeface="Tahoma" panose="020B0604030504040204" pitchFamily="34" charset="0"/>
                <a:cs typeface="Arial" panose="020B0604020202020204" pitchFamily="34" charset="0"/>
              </a:rPr>
            </a:br>
            <a:r>
              <a:rPr lang="ru-RU" sz="2000" dirty="0" smtClean="0">
                <a:ea typeface="Tahoma" panose="020B0604030504040204" pitchFamily="34" charset="0"/>
                <a:cs typeface="Arial" panose="020B0604020202020204" pitchFamily="34" charset="0"/>
              </a:rPr>
              <a:t/>
            </a:r>
            <a:br>
              <a:rPr lang="ru-RU" sz="2000" dirty="0" smtClean="0">
                <a:ea typeface="Tahoma" panose="020B0604030504040204" pitchFamily="34" charset="0"/>
                <a:cs typeface="Arial" panose="020B0604020202020204" pitchFamily="34" charset="0"/>
              </a:rPr>
            </a:br>
            <a:endParaRPr lang="en-US" sz="2000" dirty="0"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393916" y="3753702"/>
            <a:ext cx="237342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8000" algn="ctr"/>
            <a:r>
              <a:rPr lang="ru-RU" b="1" dirty="0">
                <a:solidFill>
                  <a:schemeClr val="bg1"/>
                </a:solidFill>
                <a:ea typeface="Tahoma" panose="020B0604030504040204" pitchFamily="34" charset="0"/>
                <a:cs typeface="Arial" panose="020B0604020202020204" pitchFamily="34" charset="0"/>
              </a:rPr>
              <a:t>КОНТРОЛЬНЫЙ СЧЕТ ДЛЯ УЧЕТА НДС</a:t>
            </a:r>
            <a:endParaRPr lang="en-US" b="1" dirty="0">
              <a:solidFill>
                <a:schemeClr val="bg1"/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0587" y="2745906"/>
            <a:ext cx="822825" cy="822825"/>
          </a:xfrm>
          <a:prstGeom prst="rect">
            <a:avLst/>
          </a:prstGeom>
        </p:spPr>
      </p:pic>
      <p:sp>
        <p:nvSpPr>
          <p:cNvPr id="12" name="Пятиугольник 11"/>
          <p:cNvSpPr/>
          <p:nvPr/>
        </p:nvSpPr>
        <p:spPr>
          <a:xfrm>
            <a:off x="267419" y="2687055"/>
            <a:ext cx="2579298" cy="785004"/>
          </a:xfrm>
          <a:prstGeom prst="homePlate">
            <a:avLst>
              <a:gd name="adj" fmla="val 18708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Tahoma" panose="020B0604030504040204" pitchFamily="34" charset="0"/>
                <a:cs typeface="Arial" panose="020B0604020202020204" pitchFamily="34" charset="0"/>
              </a:rPr>
              <a:t>С </a:t>
            </a:r>
            <a:r>
              <a:rPr lang="ru-RU" dirty="0">
                <a:solidFill>
                  <a:schemeClr val="tx1">
                    <a:lumMod val="85000"/>
                    <a:lumOff val="15000"/>
                  </a:schemeClr>
                </a:solidFill>
                <a:ea typeface="Tahoma" panose="020B0604030504040204" pitchFamily="34" charset="0"/>
                <a:cs typeface="Arial" panose="020B0604020202020204" pitchFamily="34" charset="0"/>
              </a:rPr>
              <a:t>КС-НДС покупателя</a:t>
            </a:r>
          </a:p>
        </p:txBody>
      </p:sp>
      <p:sp>
        <p:nvSpPr>
          <p:cNvPr id="21" name="Пятиугольник 20"/>
          <p:cNvSpPr/>
          <p:nvPr/>
        </p:nvSpPr>
        <p:spPr>
          <a:xfrm>
            <a:off x="267419" y="3649533"/>
            <a:ext cx="2579298" cy="785004"/>
          </a:xfrm>
          <a:prstGeom prst="homePlate">
            <a:avLst>
              <a:gd name="adj" fmla="val 18708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Tahoma" panose="020B0604030504040204" pitchFamily="34" charset="0"/>
                <a:cs typeface="Arial" panose="020B0604020202020204" pitchFamily="34" charset="0"/>
              </a:rPr>
              <a:t>Пополнение с </a:t>
            </a:r>
            <a:r>
              <a:rPr lang="ru-RU" dirty="0">
                <a:solidFill>
                  <a:schemeClr val="tx1">
                    <a:lumMod val="85000"/>
                    <a:lumOff val="15000"/>
                  </a:schemeClr>
                </a:solidFill>
                <a:ea typeface="Tahoma" panose="020B0604030504040204" pitchFamily="34" charset="0"/>
                <a:cs typeface="Arial" panose="020B0604020202020204" pitchFamily="34" charset="0"/>
              </a:rPr>
              <a:t>текущего счета </a:t>
            </a:r>
            <a:r>
              <a:rPr lang="ru-RU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Tahoma" panose="020B0604030504040204" pitchFamily="34" charset="0"/>
                <a:cs typeface="Arial" panose="020B0604020202020204" pitchFamily="34" charset="0"/>
              </a:rPr>
              <a:t>плательщика </a:t>
            </a:r>
            <a:r>
              <a:rPr lang="ru-RU" dirty="0">
                <a:solidFill>
                  <a:schemeClr val="tx1">
                    <a:lumMod val="85000"/>
                    <a:lumOff val="15000"/>
                  </a:schemeClr>
                </a:solidFill>
                <a:ea typeface="Tahoma" panose="020B0604030504040204" pitchFamily="34" charset="0"/>
                <a:cs typeface="Arial" panose="020B0604020202020204" pitchFamily="34" charset="0"/>
              </a:rPr>
              <a:t>НДС</a:t>
            </a:r>
          </a:p>
        </p:txBody>
      </p:sp>
      <p:sp>
        <p:nvSpPr>
          <p:cNvPr id="22" name="Пятиугольник 21"/>
          <p:cNvSpPr/>
          <p:nvPr/>
        </p:nvSpPr>
        <p:spPr>
          <a:xfrm>
            <a:off x="6340415" y="2687055"/>
            <a:ext cx="2579298" cy="785004"/>
          </a:xfrm>
          <a:prstGeom prst="homePlate">
            <a:avLst>
              <a:gd name="adj" fmla="val 18708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>
                    <a:lumMod val="85000"/>
                    <a:lumOff val="15000"/>
                  </a:schemeClr>
                </a:solidFill>
                <a:ea typeface="Tahoma" panose="020B0604030504040204" pitchFamily="34" charset="0"/>
                <a:cs typeface="Arial" panose="020B0604020202020204" pitchFamily="34" charset="0"/>
              </a:rPr>
              <a:t>Н</a:t>
            </a:r>
            <a:r>
              <a:rPr lang="ru-RU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Tahoma" panose="020B0604030504040204" pitchFamily="34" charset="0"/>
                <a:cs typeface="Arial" panose="020B0604020202020204" pitchFamily="34" charset="0"/>
              </a:rPr>
              <a:t>а </a:t>
            </a:r>
            <a:r>
              <a:rPr lang="ru-RU" dirty="0">
                <a:solidFill>
                  <a:schemeClr val="tx1">
                    <a:lumMod val="85000"/>
                    <a:lumOff val="15000"/>
                  </a:schemeClr>
                </a:solidFill>
                <a:ea typeface="Tahoma" panose="020B0604030504040204" pitchFamily="34" charset="0"/>
                <a:cs typeface="Arial" panose="020B0604020202020204" pitchFamily="34" charset="0"/>
              </a:rPr>
              <a:t>КС-НДС  поставщика</a:t>
            </a:r>
          </a:p>
        </p:txBody>
      </p:sp>
      <p:sp>
        <p:nvSpPr>
          <p:cNvPr id="23" name="Пятиугольник 22"/>
          <p:cNvSpPr/>
          <p:nvPr/>
        </p:nvSpPr>
        <p:spPr>
          <a:xfrm>
            <a:off x="6340415" y="3649533"/>
            <a:ext cx="2579298" cy="785004"/>
          </a:xfrm>
          <a:prstGeom prst="homePlate">
            <a:avLst>
              <a:gd name="adj" fmla="val 18708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Tahoma" panose="020B0604030504040204" pitchFamily="34" charset="0"/>
                <a:cs typeface="Arial" panose="020B0604020202020204" pitchFamily="34" charset="0"/>
              </a:rPr>
              <a:t>Уплата НДС в бюджет</a:t>
            </a:r>
            <a:endParaRPr lang="ru-RU" dirty="0">
              <a:solidFill>
                <a:schemeClr val="tx1">
                  <a:lumMod val="85000"/>
                  <a:lumOff val="15000"/>
                </a:schemeClr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Tahoma" panose="020B0604030504040204" pitchFamily="34" charset="0"/>
                <a:cs typeface="Arial" panose="020B0604020202020204" pitchFamily="34" charset="0"/>
              </a:rPr>
              <a:t>(включая НДС на импорт и за нерезидента)</a:t>
            </a:r>
          </a:p>
        </p:txBody>
      </p:sp>
      <p:sp>
        <p:nvSpPr>
          <p:cNvPr id="24" name="TextBox 5"/>
          <p:cNvSpPr txBox="1"/>
          <p:nvPr/>
        </p:nvSpPr>
        <p:spPr>
          <a:xfrm>
            <a:off x="925799" y="2228986"/>
            <a:ext cx="1082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dirty="0" smtClean="0">
                <a:solidFill>
                  <a:srgbClr val="3494BA"/>
                </a:solidFill>
                <a:ea typeface="Tahoma" panose="020B0604030504040204" pitchFamily="34" charset="0"/>
                <a:cs typeface="Arial" panose="020B0604020202020204" pitchFamily="34" charset="0"/>
              </a:rPr>
              <a:t>ПРИХОД</a:t>
            </a:r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endParaRPr lang="ru-RU" b="1" dirty="0">
              <a:solidFill>
                <a:schemeClr val="accent6">
                  <a:lumMod val="75000"/>
                </a:schemeClr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Box 6"/>
          <p:cNvSpPr txBox="1"/>
          <p:nvPr/>
        </p:nvSpPr>
        <p:spPr>
          <a:xfrm>
            <a:off x="7135661" y="2228986"/>
            <a:ext cx="9748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dirty="0" smtClean="0">
                <a:solidFill>
                  <a:srgbClr val="00B050"/>
                </a:solidFill>
                <a:ea typeface="Tahoma" panose="020B0604030504040204" pitchFamily="34" charset="0"/>
                <a:cs typeface="Arial" panose="020B0604020202020204" pitchFamily="34" charset="0"/>
              </a:rPr>
              <a:t>РАСХОД</a:t>
            </a:r>
            <a:endParaRPr lang="ru-RU" b="1" dirty="0">
              <a:solidFill>
                <a:srgbClr val="00B050"/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820174" y="5442178"/>
            <a:ext cx="2340413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/>
              <a:t>Контрольный счет НДС открывается в банках второго уровня для плательщиков НДС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5767336" y="5442178"/>
            <a:ext cx="303514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/>
              <a:t>К счету применяется особый режим осуществления операций – невозможно </a:t>
            </a:r>
            <a:r>
              <a:rPr lang="ru-RU" sz="1600" dirty="0" err="1"/>
              <a:t>обналичивание</a:t>
            </a:r>
            <a:r>
              <a:rPr lang="ru-RU" sz="1600" dirty="0"/>
              <a:t> денег с КС НДС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267419" y="5124092"/>
            <a:ext cx="8626415" cy="1552754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6573" y="5507270"/>
            <a:ext cx="840795" cy="840795"/>
          </a:xfrm>
          <a:prstGeom prst="rect">
            <a:avLst/>
          </a:prstGeom>
        </p:spPr>
      </p:pic>
      <p:grpSp>
        <p:nvGrpSpPr>
          <p:cNvPr id="20" name="Группа 19"/>
          <p:cNvGrpSpPr/>
          <p:nvPr/>
        </p:nvGrpSpPr>
        <p:grpSpPr>
          <a:xfrm>
            <a:off x="4754026" y="5442178"/>
            <a:ext cx="905887" cy="905887"/>
            <a:chOff x="4684143" y="5442178"/>
            <a:chExt cx="905887" cy="905887"/>
          </a:xfrm>
        </p:grpSpPr>
        <p:cxnSp>
          <p:nvCxnSpPr>
            <p:cNvPr id="19" name="Прямая соединительная линия 18"/>
            <p:cNvCxnSpPr/>
            <p:nvPr/>
          </p:nvCxnSpPr>
          <p:spPr>
            <a:xfrm>
              <a:off x="4684143" y="5442178"/>
              <a:ext cx="905887" cy="905887"/>
            </a:xfrm>
            <a:prstGeom prst="line">
              <a:avLst/>
            </a:prstGeom>
            <a:ln w="57150"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Прямая соединительная линия 32"/>
            <p:cNvCxnSpPr/>
            <p:nvPr/>
          </p:nvCxnSpPr>
          <p:spPr>
            <a:xfrm flipH="1">
              <a:off x="4684143" y="5442178"/>
              <a:ext cx="905887" cy="905887"/>
            </a:xfrm>
            <a:prstGeom prst="line">
              <a:avLst/>
            </a:prstGeom>
            <a:ln w="57150"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Овал 33"/>
          <p:cNvSpPr/>
          <p:nvPr/>
        </p:nvSpPr>
        <p:spPr>
          <a:xfrm>
            <a:off x="766643" y="5540992"/>
            <a:ext cx="836762" cy="836762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5" name="Группа 21">
            <a:extLst>
              <a:ext uri="{FF2B5EF4-FFF2-40B4-BE49-F238E27FC236}">
                <a16:creationId xmlns="" xmlns:a16="http://schemas.microsoft.com/office/drawing/2014/main" id="{813C0666-4549-410D-B962-EF5156FA7C79}"/>
              </a:ext>
            </a:extLst>
          </p:cNvPr>
          <p:cNvGrpSpPr>
            <a:grpSpLocks/>
          </p:cNvGrpSpPr>
          <p:nvPr/>
        </p:nvGrpSpPr>
        <p:grpSpPr bwMode="auto">
          <a:xfrm>
            <a:off x="888404" y="5631960"/>
            <a:ext cx="593153" cy="592249"/>
            <a:chOff x="5751237" y="1062727"/>
            <a:chExt cx="1040474" cy="1040474"/>
          </a:xfrm>
        </p:grpSpPr>
        <p:pic>
          <p:nvPicPr>
            <p:cNvPr id="36" name="Рисунок 12">
              <a:extLst>
                <a:ext uri="{FF2B5EF4-FFF2-40B4-BE49-F238E27FC236}">
                  <a16:creationId xmlns="" xmlns:a16="http://schemas.microsoft.com/office/drawing/2014/main" id="{3BADF7BB-7D7F-4234-B714-7104B51194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51237" y="1062727"/>
              <a:ext cx="1040474" cy="10404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7" name="Прямоугольник 36">
              <a:extLst>
                <a:ext uri="{FF2B5EF4-FFF2-40B4-BE49-F238E27FC236}">
                  <a16:creationId xmlns="" xmlns:a16="http://schemas.microsoft.com/office/drawing/2014/main" id="{C52C1694-5407-4D7F-9948-8C4A984ACC05}"/>
                </a:ext>
              </a:extLst>
            </p:cNvPr>
            <p:cNvSpPr/>
            <p:nvPr/>
          </p:nvSpPr>
          <p:spPr>
            <a:xfrm>
              <a:off x="6169964" y="1658418"/>
              <a:ext cx="203019" cy="327233"/>
            </a:xfrm>
            <a:prstGeom prst="rect">
              <a:avLst/>
            </a:prstGeom>
            <a:solidFill>
              <a:srgbClr val="9DC3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0">
                <a:solidFill>
                  <a:schemeClr val="tx1"/>
                </a:solidFill>
                <a:latin typeface="Calibri" panose="020F0502020204030204"/>
              </a:endParaRPr>
            </a:p>
          </p:txBody>
        </p:sp>
      </p:grp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0F52CE-B24A-4C0A-B48F-3DC51A541F50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80956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517585" y="1004351"/>
            <a:ext cx="8626415" cy="71812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0" y="0"/>
            <a:ext cx="9144000" cy="759125"/>
          </a:xfrm>
          <a:prstGeom prst="rect">
            <a:avLst/>
          </a:prstGeom>
          <a:gradFill flip="none" rotWithShape="1">
            <a:gsLst>
              <a:gs pos="0">
                <a:srgbClr val="002060"/>
              </a:gs>
              <a:gs pos="100000">
                <a:srgbClr val="0036A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0" y="151863"/>
            <a:ext cx="898872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22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рядок открытия  в БВУ  КС-НДС</a:t>
            </a:r>
            <a:endParaRPr lang="ru-RU" sz="22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29" name="Группа 28"/>
          <p:cNvGrpSpPr/>
          <p:nvPr/>
        </p:nvGrpSpPr>
        <p:grpSpPr>
          <a:xfrm>
            <a:off x="267419" y="990933"/>
            <a:ext cx="8612175" cy="731542"/>
            <a:chOff x="267419" y="990933"/>
            <a:chExt cx="8612175" cy="731542"/>
          </a:xfrm>
        </p:grpSpPr>
        <p:sp>
          <p:nvSpPr>
            <p:cNvPr id="7" name="Прямоугольник 6"/>
            <p:cNvSpPr/>
            <p:nvPr/>
          </p:nvSpPr>
          <p:spPr>
            <a:xfrm>
              <a:off x="2285999" y="990933"/>
              <a:ext cx="6593595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dirty="0" smtClean="0"/>
                <a:t>Любой Банк второго уровня, предоставляющий  услугу по открытию КС НДС </a:t>
              </a:r>
              <a:endParaRPr lang="ru-RU" dirty="0"/>
            </a:p>
          </p:txBody>
        </p:sp>
        <p:sp>
          <p:nvSpPr>
            <p:cNvPr id="9" name="Пятиугольник 8"/>
            <p:cNvSpPr/>
            <p:nvPr/>
          </p:nvSpPr>
          <p:spPr>
            <a:xfrm>
              <a:off x="267419" y="996351"/>
              <a:ext cx="1871932" cy="726124"/>
            </a:xfrm>
            <a:prstGeom prst="homePlate">
              <a:avLst>
                <a:gd name="adj" fmla="val 20950"/>
              </a:avLst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 smtClean="0"/>
                <a:t>Банк</a:t>
              </a:r>
              <a:endParaRPr lang="ru-RU" b="1" dirty="0"/>
            </a:p>
          </p:txBody>
        </p:sp>
      </p:grp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171849" y="6584604"/>
            <a:ext cx="816876" cy="364836"/>
          </a:xfrm>
        </p:spPr>
        <p:txBody>
          <a:bodyPr/>
          <a:lstStyle/>
          <a:p>
            <a:pPr algn="ctr"/>
            <a:fld id="{640F52CE-B24A-4C0A-B48F-3DC51A541F50}" type="slidenum">
              <a:rPr lang="ru-RU" smtClean="0"/>
              <a:pPr algn="ctr"/>
              <a:t>5</a:t>
            </a:fld>
            <a:endParaRPr lang="ru-RU" dirty="0"/>
          </a:p>
        </p:txBody>
      </p:sp>
      <p:grpSp>
        <p:nvGrpSpPr>
          <p:cNvPr id="15" name="Группа 14"/>
          <p:cNvGrpSpPr/>
          <p:nvPr/>
        </p:nvGrpSpPr>
        <p:grpSpPr>
          <a:xfrm>
            <a:off x="267419" y="1855570"/>
            <a:ext cx="8876581" cy="923330"/>
            <a:chOff x="419819" y="1053444"/>
            <a:chExt cx="8876581" cy="1350551"/>
          </a:xfrm>
        </p:grpSpPr>
        <p:sp>
          <p:nvSpPr>
            <p:cNvPr id="30" name="Прямоугольник 29"/>
            <p:cNvSpPr/>
            <p:nvPr/>
          </p:nvSpPr>
          <p:spPr>
            <a:xfrm>
              <a:off x="669985" y="1156750"/>
              <a:ext cx="8626415" cy="114393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" name="Прямоугольник 30"/>
            <p:cNvSpPr/>
            <p:nvPr/>
          </p:nvSpPr>
          <p:spPr>
            <a:xfrm>
              <a:off x="2438396" y="1053444"/>
              <a:ext cx="6593595" cy="135055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buFont typeface="Arial" pitchFamily="34" charset="0"/>
                <a:buChar char="•"/>
              </a:pPr>
              <a:r>
                <a:rPr lang="ru-RU" dirty="0" smtClean="0"/>
                <a:t>Плательщик НДС</a:t>
              </a:r>
            </a:p>
            <a:p>
              <a:pPr marL="285750" indent="-285750">
                <a:buFont typeface="Arial" pitchFamily="34" charset="0"/>
                <a:buChar char="•"/>
              </a:pPr>
              <a:r>
                <a:rPr lang="ru-RU" dirty="0" smtClean="0"/>
                <a:t>Наличие текущего счета в том же Банке</a:t>
              </a:r>
            </a:p>
            <a:p>
              <a:pPr indent="-285750">
                <a:buFont typeface="Arial" pitchFamily="34" charset="0"/>
                <a:buChar char="•"/>
              </a:pPr>
              <a:r>
                <a:rPr lang="ru-RU" dirty="0" smtClean="0"/>
                <a:t>Один Банк           один КС НДС </a:t>
              </a:r>
              <a:r>
                <a:rPr lang="ru-RU" i="1" dirty="0"/>
                <a:t>*</a:t>
              </a:r>
              <a:r>
                <a:rPr lang="ru-RU" sz="1400" dirty="0" smtClean="0"/>
                <a:t>рекомендация</a:t>
              </a:r>
              <a:endParaRPr lang="ru-RU" sz="1400" dirty="0"/>
            </a:p>
          </p:txBody>
        </p:sp>
        <p:sp>
          <p:nvSpPr>
            <p:cNvPr id="32" name="Пятиугольник 31"/>
            <p:cNvSpPr/>
            <p:nvPr/>
          </p:nvSpPr>
          <p:spPr>
            <a:xfrm>
              <a:off x="419819" y="1148750"/>
              <a:ext cx="1871932" cy="1151939"/>
            </a:xfrm>
            <a:prstGeom prst="homePlate">
              <a:avLst>
                <a:gd name="adj" fmla="val 20950"/>
              </a:avLst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 smtClean="0"/>
                <a:t>Условия для открытия</a:t>
              </a:r>
              <a:endParaRPr lang="ru-RU" b="1" dirty="0"/>
            </a:p>
          </p:txBody>
        </p:sp>
      </p:grpSp>
      <p:cxnSp>
        <p:nvCxnSpPr>
          <p:cNvPr id="26" name="Прямая со стрелкой 25"/>
          <p:cNvCxnSpPr/>
          <p:nvPr/>
        </p:nvCxnSpPr>
        <p:spPr>
          <a:xfrm>
            <a:off x="3827721" y="2594346"/>
            <a:ext cx="350874" cy="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6" name="Группа 45"/>
          <p:cNvGrpSpPr/>
          <p:nvPr/>
        </p:nvGrpSpPr>
        <p:grpSpPr>
          <a:xfrm>
            <a:off x="267419" y="2931300"/>
            <a:ext cx="8876581" cy="852703"/>
            <a:chOff x="419819" y="1053444"/>
            <a:chExt cx="8876581" cy="1247245"/>
          </a:xfrm>
        </p:grpSpPr>
        <p:sp>
          <p:nvSpPr>
            <p:cNvPr id="47" name="Прямоугольник 46"/>
            <p:cNvSpPr/>
            <p:nvPr/>
          </p:nvSpPr>
          <p:spPr>
            <a:xfrm>
              <a:off x="669985" y="1156750"/>
              <a:ext cx="8626415" cy="114393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2438396" y="1053444"/>
              <a:ext cx="6593595" cy="9453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buFont typeface="Arial" pitchFamily="34" charset="0"/>
                <a:buChar char="•"/>
              </a:pPr>
              <a:endParaRPr lang="ru-RU" dirty="0" smtClean="0"/>
            </a:p>
            <a:p>
              <a:pPr marL="285750" indent="-285750">
                <a:buFont typeface="Arial" pitchFamily="34" charset="0"/>
                <a:buChar char="•"/>
              </a:pPr>
              <a:r>
                <a:rPr lang="ru-RU" dirty="0" smtClean="0"/>
                <a:t>Заявление на открытие счета</a:t>
              </a:r>
            </a:p>
          </p:txBody>
        </p:sp>
        <p:sp>
          <p:nvSpPr>
            <p:cNvPr id="49" name="Пятиугольник 48"/>
            <p:cNvSpPr/>
            <p:nvPr/>
          </p:nvSpPr>
          <p:spPr>
            <a:xfrm>
              <a:off x="419819" y="1148750"/>
              <a:ext cx="1871932" cy="1151939"/>
            </a:xfrm>
            <a:prstGeom prst="homePlate">
              <a:avLst>
                <a:gd name="adj" fmla="val 20950"/>
              </a:avLst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 smtClean="0"/>
                <a:t>Документы</a:t>
              </a:r>
              <a:endParaRPr lang="ru-RU" b="1" dirty="0"/>
            </a:p>
          </p:txBody>
        </p:sp>
      </p:grpSp>
      <p:grpSp>
        <p:nvGrpSpPr>
          <p:cNvPr id="50" name="Группа 49"/>
          <p:cNvGrpSpPr/>
          <p:nvPr/>
        </p:nvGrpSpPr>
        <p:grpSpPr>
          <a:xfrm>
            <a:off x="392501" y="4041912"/>
            <a:ext cx="8876581" cy="787545"/>
            <a:chOff x="419819" y="1148750"/>
            <a:chExt cx="8876581" cy="1151939"/>
          </a:xfrm>
        </p:grpSpPr>
        <p:sp>
          <p:nvSpPr>
            <p:cNvPr id="51" name="Прямоугольник 50"/>
            <p:cNvSpPr/>
            <p:nvPr/>
          </p:nvSpPr>
          <p:spPr>
            <a:xfrm>
              <a:off x="669985" y="1156750"/>
              <a:ext cx="8626415" cy="114393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2438395" y="1195555"/>
              <a:ext cx="6593595" cy="9453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buFont typeface="Arial" pitchFamily="34" charset="0"/>
                <a:buChar char="•"/>
              </a:pPr>
              <a:r>
                <a:rPr lang="ru-RU" dirty="0" smtClean="0"/>
                <a:t>Зависит от возможностей систем дистанционного обслуживания  в каждом конкретном Банке</a:t>
              </a:r>
              <a:endParaRPr lang="ru-RU" dirty="0"/>
            </a:p>
          </p:txBody>
        </p:sp>
        <p:sp>
          <p:nvSpPr>
            <p:cNvPr id="53" name="Пятиугольник 52"/>
            <p:cNvSpPr/>
            <p:nvPr/>
          </p:nvSpPr>
          <p:spPr>
            <a:xfrm>
              <a:off x="419819" y="1148750"/>
              <a:ext cx="1871932" cy="1151939"/>
            </a:xfrm>
            <a:prstGeom prst="homePlate">
              <a:avLst>
                <a:gd name="adj" fmla="val 20950"/>
              </a:avLst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b="1" dirty="0" smtClean="0"/>
                <a:t>Возможность дистанционного открытия</a:t>
              </a:r>
              <a:endParaRPr lang="ru-RU" sz="1600" b="1" dirty="0"/>
            </a:p>
          </p:txBody>
        </p:sp>
      </p:grpSp>
      <p:sp>
        <p:nvSpPr>
          <p:cNvPr id="55" name="TextBox 54"/>
          <p:cNvSpPr txBox="1"/>
          <p:nvPr/>
        </p:nvSpPr>
        <p:spPr>
          <a:xfrm>
            <a:off x="6771321" y="3115473"/>
            <a:ext cx="192854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/>
              <a:t>*В некоторых  Банках </a:t>
            </a:r>
          </a:p>
          <a:p>
            <a:r>
              <a:rPr lang="ru-RU" sz="1400" dirty="0" smtClean="0"/>
              <a:t>   Заявление и Договор</a:t>
            </a:r>
            <a:endParaRPr lang="ru-RU" sz="1400" dirty="0"/>
          </a:p>
        </p:txBody>
      </p:sp>
      <p:grpSp>
        <p:nvGrpSpPr>
          <p:cNvPr id="56" name="Группа 55"/>
          <p:cNvGrpSpPr/>
          <p:nvPr/>
        </p:nvGrpSpPr>
        <p:grpSpPr>
          <a:xfrm>
            <a:off x="267419" y="4910970"/>
            <a:ext cx="8876581" cy="800219"/>
            <a:chOff x="419819" y="1045772"/>
            <a:chExt cx="8876581" cy="1291674"/>
          </a:xfrm>
        </p:grpSpPr>
        <p:sp>
          <p:nvSpPr>
            <p:cNvPr id="57" name="Прямоугольник 56"/>
            <p:cNvSpPr/>
            <p:nvPr/>
          </p:nvSpPr>
          <p:spPr>
            <a:xfrm>
              <a:off x="669985" y="1156750"/>
              <a:ext cx="8626415" cy="114393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8" name="Прямоугольник 57"/>
            <p:cNvSpPr/>
            <p:nvPr/>
          </p:nvSpPr>
          <p:spPr>
            <a:xfrm>
              <a:off x="2438394" y="1045772"/>
              <a:ext cx="6593595" cy="129167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buFont typeface="Arial" pitchFamily="34" charset="0"/>
                <a:buChar char="•"/>
              </a:pPr>
              <a:r>
                <a:rPr lang="ru-RU" dirty="0" smtClean="0"/>
                <a:t>Устанавливаются Банками самостоятельно</a:t>
              </a:r>
            </a:p>
            <a:p>
              <a:r>
                <a:rPr lang="ru-RU" sz="1400" dirty="0"/>
                <a:t> *</a:t>
              </a:r>
              <a:r>
                <a:rPr lang="ru-RU" sz="1400" dirty="0" smtClean="0"/>
                <a:t>Отдельные  Банки  поддержали предложение по снижению/отмене комиссий </a:t>
              </a:r>
              <a:r>
                <a:rPr lang="en-US" sz="1400" dirty="0" smtClean="0"/>
                <a:t>       </a:t>
              </a:r>
            </a:p>
            <a:p>
              <a:r>
                <a:rPr lang="ru-RU" sz="1400" dirty="0" smtClean="0"/>
                <a:t>за открытие и ведение КС НДС</a:t>
              </a:r>
            </a:p>
          </p:txBody>
        </p:sp>
        <p:sp>
          <p:nvSpPr>
            <p:cNvPr id="59" name="Пятиугольник 58"/>
            <p:cNvSpPr/>
            <p:nvPr/>
          </p:nvSpPr>
          <p:spPr>
            <a:xfrm>
              <a:off x="419819" y="1148750"/>
              <a:ext cx="1871932" cy="1151939"/>
            </a:xfrm>
            <a:prstGeom prst="homePlate">
              <a:avLst>
                <a:gd name="adj" fmla="val 20950"/>
              </a:avLst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b="1" dirty="0" smtClean="0"/>
                <a:t>Комиссии Банка</a:t>
              </a:r>
              <a:endParaRPr lang="ru-RU" sz="1600" b="1" dirty="0"/>
            </a:p>
          </p:txBody>
        </p:sp>
      </p:grpSp>
      <p:grpSp>
        <p:nvGrpSpPr>
          <p:cNvPr id="60" name="Группа 59"/>
          <p:cNvGrpSpPr/>
          <p:nvPr/>
        </p:nvGrpSpPr>
        <p:grpSpPr>
          <a:xfrm>
            <a:off x="267419" y="5904614"/>
            <a:ext cx="8876581" cy="713650"/>
            <a:chOff x="419819" y="1148750"/>
            <a:chExt cx="8876581" cy="1151939"/>
          </a:xfrm>
        </p:grpSpPr>
        <p:sp>
          <p:nvSpPr>
            <p:cNvPr id="61" name="Прямоугольник 60"/>
            <p:cNvSpPr/>
            <p:nvPr/>
          </p:nvSpPr>
          <p:spPr>
            <a:xfrm>
              <a:off x="669985" y="1156750"/>
              <a:ext cx="8626415" cy="114393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2" name="Прямоугольник 61"/>
            <p:cNvSpPr/>
            <p:nvPr/>
          </p:nvSpPr>
          <p:spPr>
            <a:xfrm>
              <a:off x="2438393" y="1203081"/>
              <a:ext cx="6593595" cy="104327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buFont typeface="Arial" pitchFamily="34" charset="0"/>
                <a:buChar char="•"/>
              </a:pPr>
              <a:r>
                <a:rPr lang="ru-RU" dirty="0" smtClean="0"/>
                <a:t>Предусмотрено  ограничение по исполнению требований третьих лиц с КС НДС (налоговые органы и по решениям суда)</a:t>
              </a:r>
              <a:endParaRPr lang="ru-RU" sz="1400" dirty="0" smtClean="0"/>
            </a:p>
          </p:txBody>
        </p:sp>
        <p:sp>
          <p:nvSpPr>
            <p:cNvPr id="63" name="Пятиугольник 62"/>
            <p:cNvSpPr/>
            <p:nvPr/>
          </p:nvSpPr>
          <p:spPr>
            <a:xfrm>
              <a:off x="419819" y="1148750"/>
              <a:ext cx="1871932" cy="1151939"/>
            </a:xfrm>
            <a:prstGeom prst="homePlate">
              <a:avLst>
                <a:gd name="adj" fmla="val 20950"/>
              </a:avLst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b="1" dirty="0" smtClean="0"/>
                <a:t>Требования третьих лиц</a:t>
              </a:r>
              <a:endParaRPr lang="ru-RU" sz="16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176388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Группа 11"/>
          <p:cNvGrpSpPr/>
          <p:nvPr/>
        </p:nvGrpSpPr>
        <p:grpSpPr>
          <a:xfrm>
            <a:off x="-17253" y="-547668"/>
            <a:ext cx="9226903" cy="7624022"/>
            <a:chOff x="-63644" y="-737023"/>
            <a:chExt cx="9226903" cy="7685814"/>
          </a:xfrm>
        </p:grpSpPr>
        <p:pic>
          <p:nvPicPr>
            <p:cNvPr id="18" name="Picture 2" descr="C:\Users\user\Downloads\abstract-polygonal-background-connecting-dots-lines-connection-structure-vector-illustration-61074274.jpg"/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artisticBlur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4" t="-5435" r="-134" b="29861"/>
            <a:stretch/>
          </p:blipFill>
          <p:spPr bwMode="auto">
            <a:xfrm>
              <a:off x="-4940" y="-737023"/>
              <a:ext cx="9144000" cy="73894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Прямоугольник с двумя вырезанными противолежащими углами 22"/>
            <p:cNvSpPr/>
            <p:nvPr/>
          </p:nvSpPr>
          <p:spPr>
            <a:xfrm>
              <a:off x="-63644" y="-193814"/>
              <a:ext cx="9226903" cy="7142605"/>
            </a:xfrm>
            <a:prstGeom prst="snip2DiagRect">
              <a:avLst>
                <a:gd name="adj1" fmla="val 0"/>
                <a:gd name="adj2" fmla="val 0"/>
              </a:avLst>
            </a:prstGeom>
            <a:solidFill>
              <a:schemeClr val="lt1">
                <a:alpha val="69000"/>
              </a:schemeClr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sp>
        <p:nvSpPr>
          <p:cNvPr id="24" name="Заголовок 1"/>
          <p:cNvSpPr txBox="1">
            <a:spLocks/>
          </p:cNvSpPr>
          <p:nvPr/>
        </p:nvSpPr>
        <p:spPr>
          <a:xfrm>
            <a:off x="422657" y="12614"/>
            <a:ext cx="8229600" cy="9269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ru-RU" sz="3200" b="1" dirty="0">
                <a:latin typeface="+mn-lt"/>
                <a:cs typeface="Arial" charset="0"/>
              </a:rPr>
              <a:t>Движение денег на контрольных счетах НДС</a:t>
            </a:r>
            <a:endParaRPr lang="ru-RU" sz="3200" dirty="0">
              <a:latin typeface="+mn-lt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auto">
          <a:xfrm>
            <a:off x="714023" y="893143"/>
            <a:ext cx="1332000" cy="68326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ru-RU" sz="1200" b="1" dirty="0">
                <a:latin typeface="Times New Roman" pitchFamily="18" charset="0"/>
                <a:cs typeface="Times New Roman" pitchFamily="18" charset="0"/>
              </a:rPr>
              <a:t>ТОО «А</a:t>
            </a: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»</a:t>
            </a:r>
          </a:p>
          <a:p>
            <a:pPr algn="ctr">
              <a:defRPr/>
            </a:pPr>
            <a:r>
              <a:rPr lang="ru-RU" sz="1000" dirty="0" smtClean="0">
                <a:latin typeface="Times New Roman" pitchFamily="18" charset="0"/>
                <a:cs typeface="Times New Roman" pitchFamily="18" charset="0"/>
              </a:rPr>
              <a:t>Производитель</a:t>
            </a:r>
          </a:p>
          <a:p>
            <a:pPr algn="ctr">
              <a:defRPr/>
            </a:pPr>
            <a:r>
              <a:rPr lang="ru-RU" sz="1000" dirty="0" smtClean="0">
                <a:latin typeface="Times New Roman" pitchFamily="18" charset="0"/>
                <a:cs typeface="Times New Roman" pitchFamily="18" charset="0"/>
              </a:rPr>
              <a:t> оборудования</a:t>
            </a:r>
            <a:endParaRPr lang="ru-RU" sz="10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Rectangle 8"/>
          <p:cNvSpPr>
            <a:spLocks noChangeArrowheads="1"/>
          </p:cNvSpPr>
          <p:nvPr/>
        </p:nvSpPr>
        <p:spPr bwMode="auto">
          <a:xfrm>
            <a:off x="3930198" y="842139"/>
            <a:ext cx="1332000" cy="75527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ru-RU" sz="1000" dirty="0">
                <a:latin typeface="Times New Roman" pitchFamily="18" charset="0"/>
                <a:cs typeface="Times New Roman" pitchFamily="18" charset="0"/>
              </a:rPr>
              <a:t>ТОО «Б»</a:t>
            </a:r>
          </a:p>
        </p:txBody>
      </p:sp>
      <p:sp>
        <p:nvSpPr>
          <p:cNvPr id="15" name="Rectangle 9"/>
          <p:cNvSpPr>
            <a:spLocks noChangeArrowheads="1"/>
          </p:cNvSpPr>
          <p:nvPr/>
        </p:nvSpPr>
        <p:spPr bwMode="auto">
          <a:xfrm>
            <a:off x="7119395" y="862316"/>
            <a:ext cx="1332000" cy="75527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ru-RU" sz="1100" b="1" dirty="0">
                <a:latin typeface="Times New Roman" pitchFamily="18" charset="0"/>
                <a:cs typeface="Times New Roman" pitchFamily="18" charset="0"/>
              </a:rPr>
              <a:t>ТОО «В</a:t>
            </a:r>
            <a:r>
              <a:rPr lang="ru-RU" sz="1100" b="1" dirty="0" smtClean="0">
                <a:latin typeface="Times New Roman" pitchFamily="18" charset="0"/>
                <a:cs typeface="Times New Roman" pitchFamily="18" charset="0"/>
              </a:rPr>
              <a:t>»</a:t>
            </a:r>
          </a:p>
          <a:p>
            <a:pPr algn="ctr"/>
            <a:r>
              <a:rPr lang="ru-RU" sz="1000" dirty="0" smtClean="0">
                <a:latin typeface="Times New Roman" pitchFamily="18" charset="0"/>
                <a:cs typeface="Times New Roman" pitchFamily="18" charset="0"/>
              </a:rPr>
              <a:t>завод</a:t>
            </a:r>
            <a:endParaRPr lang="ru-RU" sz="10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AutoShape 18"/>
          <p:cNvSpPr>
            <a:spLocks noChangeArrowheads="1"/>
          </p:cNvSpPr>
          <p:nvPr/>
        </p:nvSpPr>
        <p:spPr bwMode="auto">
          <a:xfrm>
            <a:off x="2053707" y="893143"/>
            <a:ext cx="1836000" cy="576064"/>
          </a:xfrm>
          <a:prstGeom prst="rightArrow">
            <a:avLst>
              <a:gd name="adj1" fmla="val 61630"/>
              <a:gd name="adj2" fmla="val 68186"/>
            </a:avLst>
          </a:prstGeom>
          <a:ln>
            <a:headEnd/>
            <a:tailEnd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r>
              <a:rPr lang="ru-RU" sz="1000" b="1" dirty="0" smtClean="0">
                <a:latin typeface="Times New Roman" pitchFamily="18" charset="0"/>
              </a:rPr>
              <a:t>Продажа оборудования – </a:t>
            </a:r>
          </a:p>
          <a:p>
            <a:pPr algn="ctr"/>
            <a:r>
              <a:rPr lang="ru-RU" sz="1000" b="1" dirty="0" smtClean="0">
                <a:latin typeface="Times New Roman" pitchFamily="18" charset="0"/>
              </a:rPr>
              <a:t>112  тг  (</a:t>
            </a:r>
            <a:r>
              <a:rPr lang="ru-RU" sz="1000" b="1" dirty="0">
                <a:latin typeface="Times New Roman" pitchFamily="18" charset="0"/>
              </a:rPr>
              <a:t>в т.ч. НДС - 12 </a:t>
            </a:r>
            <a:r>
              <a:rPr lang="ru-RU" sz="1000" b="1" dirty="0" smtClean="0">
                <a:latin typeface="Times New Roman" pitchFamily="18" charset="0"/>
              </a:rPr>
              <a:t>тг) </a:t>
            </a:r>
            <a:endParaRPr lang="ru-RU" sz="1000" b="1" dirty="0">
              <a:latin typeface="Times New Roman" pitchFamily="18" charset="0"/>
            </a:endParaRPr>
          </a:p>
        </p:txBody>
      </p:sp>
      <p:sp>
        <p:nvSpPr>
          <p:cNvPr id="17" name="AutoShape 20"/>
          <p:cNvSpPr>
            <a:spLocks noChangeArrowheads="1"/>
          </p:cNvSpPr>
          <p:nvPr/>
        </p:nvSpPr>
        <p:spPr bwMode="auto">
          <a:xfrm>
            <a:off x="5262198" y="862316"/>
            <a:ext cx="1818344" cy="576064"/>
          </a:xfrm>
          <a:prstGeom prst="rightArrow">
            <a:avLst>
              <a:gd name="adj1" fmla="val 65299"/>
              <a:gd name="adj2" fmla="val 65932"/>
            </a:avLst>
          </a:prstGeom>
          <a:ln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r>
              <a:rPr lang="ru-RU" sz="1000" b="1" dirty="0" smtClean="0">
                <a:latin typeface="Times New Roman" pitchFamily="18" charset="0"/>
              </a:rPr>
              <a:t>Продажа оборудования </a:t>
            </a:r>
            <a:r>
              <a:rPr lang="ru-RU" sz="1000" b="1" dirty="0">
                <a:latin typeface="Times New Roman" pitchFamily="18" charset="0"/>
              </a:rPr>
              <a:t>– </a:t>
            </a:r>
            <a:endParaRPr lang="ru-RU" sz="1000" b="1" dirty="0" smtClean="0">
              <a:latin typeface="Times New Roman" pitchFamily="18" charset="0"/>
            </a:endParaRPr>
          </a:p>
          <a:p>
            <a:pPr algn="ctr"/>
            <a:r>
              <a:rPr lang="ru-RU" sz="1000" b="1" dirty="0" smtClean="0">
                <a:latin typeface="Times New Roman" pitchFamily="18" charset="0"/>
              </a:rPr>
              <a:t>336  тг (</a:t>
            </a:r>
            <a:r>
              <a:rPr lang="ru-RU" sz="1000" b="1" dirty="0">
                <a:latin typeface="Times New Roman" pitchFamily="18" charset="0"/>
              </a:rPr>
              <a:t>в т.ч. НДС - 36 </a:t>
            </a:r>
            <a:r>
              <a:rPr lang="ru-RU" sz="1000" b="1" dirty="0" smtClean="0">
                <a:latin typeface="Times New Roman" pitchFamily="18" charset="0"/>
              </a:rPr>
              <a:t>тг) </a:t>
            </a:r>
            <a:endParaRPr lang="ru-RU" sz="1000" b="1" dirty="0">
              <a:latin typeface="Times New Roman" pitchFamily="18" charset="0"/>
            </a:endParaRPr>
          </a:p>
        </p:txBody>
      </p:sp>
      <p:sp>
        <p:nvSpPr>
          <p:cNvPr id="19" name="AutoShape 43"/>
          <p:cNvSpPr>
            <a:spLocks noChangeArrowheads="1"/>
          </p:cNvSpPr>
          <p:nvPr/>
        </p:nvSpPr>
        <p:spPr bwMode="auto">
          <a:xfrm>
            <a:off x="2450481" y="5988125"/>
            <a:ext cx="4000528" cy="668667"/>
          </a:xfrm>
          <a:prstGeom prst="can">
            <a:avLst>
              <a:gd name="adj" fmla="val 25000"/>
            </a:avLst>
          </a:prstGeom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ru-RU" sz="1100" b="1" dirty="0" smtClean="0">
                <a:latin typeface="Times New Roman" pitchFamily="18" charset="0"/>
                <a:cs typeface="Times New Roman" pitchFamily="18" charset="0"/>
              </a:rPr>
              <a:t>БЮДЖЕТ</a:t>
            </a:r>
          </a:p>
          <a:p>
            <a:pPr algn="ctr"/>
            <a:r>
              <a:rPr lang="ru-RU" sz="1100" b="1" dirty="0" smtClean="0">
                <a:latin typeface="Times New Roman" pitchFamily="18" charset="0"/>
                <a:cs typeface="Times New Roman" pitchFamily="18" charset="0"/>
              </a:rPr>
              <a:t>Поступило 12 + 24 = 36 , возврат - 36</a:t>
            </a:r>
            <a:endParaRPr lang="ru-RU" sz="1100" b="1" dirty="0"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20" name="Группа 62"/>
          <p:cNvGrpSpPr/>
          <p:nvPr/>
        </p:nvGrpSpPr>
        <p:grpSpPr>
          <a:xfrm>
            <a:off x="7108220" y="3985115"/>
            <a:ext cx="1362349" cy="1656184"/>
            <a:chOff x="6924427" y="3747517"/>
            <a:chExt cx="1362349" cy="1656184"/>
          </a:xfrm>
        </p:grpSpPr>
        <p:sp>
          <p:nvSpPr>
            <p:cNvPr id="21" name="AutoShape 49"/>
            <p:cNvSpPr>
              <a:spLocks noChangeArrowheads="1"/>
            </p:cNvSpPr>
            <p:nvPr/>
          </p:nvSpPr>
          <p:spPr bwMode="auto">
            <a:xfrm>
              <a:off x="6924427" y="3747517"/>
              <a:ext cx="1362349" cy="1656184"/>
            </a:xfrm>
            <a:prstGeom prst="foldedCorner">
              <a:avLst>
                <a:gd name="adj" fmla="val 12500"/>
              </a:avLst>
            </a:prstGeom>
            <a:ln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algn="just"/>
              <a:endParaRPr lang="ru-RU" sz="1000" b="1" dirty="0">
                <a:latin typeface="Times New Roman" pitchFamily="18" charset="0"/>
                <a:cs typeface="Times New Roman" pitchFamily="18" charset="0"/>
              </a:endParaRPr>
            </a:p>
            <a:p>
              <a:pPr algn="just"/>
              <a:endParaRPr lang="ru-RU" sz="1000" b="1" dirty="0" smtClean="0">
                <a:latin typeface="Times New Roman" pitchFamily="18" charset="0"/>
                <a:cs typeface="Times New Roman" pitchFamily="18" charset="0"/>
              </a:endParaRPr>
            </a:p>
            <a:p>
              <a:pPr algn="just"/>
              <a:r>
                <a:rPr lang="ru-RU" sz="1000" b="1" dirty="0" smtClean="0">
                  <a:latin typeface="Times New Roman" pitchFamily="18" charset="0"/>
                  <a:cs typeface="Times New Roman" pitchFamily="18" charset="0"/>
                </a:rPr>
                <a:t>Декларация </a:t>
              </a:r>
              <a:r>
                <a:rPr lang="ru-RU" sz="1000" b="1" dirty="0">
                  <a:latin typeface="Times New Roman" pitchFamily="18" charset="0"/>
                  <a:cs typeface="Times New Roman" pitchFamily="18" charset="0"/>
                </a:rPr>
                <a:t>по НДС </a:t>
              </a:r>
            </a:p>
            <a:p>
              <a:pPr algn="just"/>
              <a:r>
                <a:rPr lang="ru-RU" sz="1000" b="1" dirty="0">
                  <a:latin typeface="Times New Roman" pitchFamily="18" charset="0"/>
                  <a:cs typeface="Times New Roman" pitchFamily="18" charset="0"/>
                </a:rPr>
                <a:t>ТОО «В»</a:t>
              </a:r>
            </a:p>
            <a:p>
              <a:pPr algn="just"/>
              <a:r>
                <a:rPr lang="ru-RU" sz="1000" b="1" dirty="0">
                  <a:latin typeface="Times New Roman" pitchFamily="18" charset="0"/>
                  <a:cs typeface="Times New Roman" pitchFamily="18" charset="0"/>
                </a:rPr>
                <a:t> </a:t>
              </a:r>
            </a:p>
            <a:p>
              <a:pPr algn="just"/>
              <a:r>
                <a:rPr lang="ru-RU" sz="1000" dirty="0">
                  <a:latin typeface="Times New Roman" pitchFamily="18" charset="0"/>
                  <a:cs typeface="Times New Roman" pitchFamily="18" charset="0"/>
                </a:rPr>
                <a:t>Начисление      - </a:t>
              </a:r>
              <a:r>
                <a:rPr lang="ru-RU" sz="1000" dirty="0" smtClean="0">
                  <a:latin typeface="Times New Roman" pitchFamily="18" charset="0"/>
                  <a:cs typeface="Times New Roman" pitchFamily="18" charset="0"/>
                </a:rPr>
                <a:t> 0 тг</a:t>
              </a:r>
              <a:endParaRPr lang="ru-RU" sz="1000" dirty="0">
                <a:latin typeface="Times New Roman" pitchFamily="18" charset="0"/>
                <a:cs typeface="Times New Roman" pitchFamily="18" charset="0"/>
              </a:endParaRPr>
            </a:p>
            <a:p>
              <a:pPr algn="just"/>
              <a:endParaRPr lang="ru-RU" sz="1000" dirty="0">
                <a:latin typeface="Times New Roman" pitchFamily="18" charset="0"/>
                <a:cs typeface="Times New Roman" pitchFamily="18" charset="0"/>
              </a:endParaRPr>
            </a:p>
            <a:p>
              <a:pPr algn="just"/>
              <a:r>
                <a:rPr lang="ru-RU" sz="1000" dirty="0">
                  <a:latin typeface="Times New Roman" pitchFamily="18" charset="0"/>
                  <a:cs typeface="Times New Roman" pitchFamily="18" charset="0"/>
                </a:rPr>
                <a:t>Зачет                 - 36 </a:t>
              </a:r>
              <a:r>
                <a:rPr lang="ru-RU" sz="1000" dirty="0" smtClean="0">
                  <a:latin typeface="Times New Roman" pitchFamily="18" charset="0"/>
                  <a:cs typeface="Times New Roman" pitchFamily="18" charset="0"/>
                </a:rPr>
                <a:t>тг</a:t>
              </a:r>
              <a:endParaRPr lang="ru-RU" sz="1000" dirty="0">
                <a:latin typeface="Times New Roman" pitchFamily="18" charset="0"/>
                <a:cs typeface="Times New Roman" pitchFamily="18" charset="0"/>
              </a:endParaRPr>
            </a:p>
            <a:p>
              <a:pPr algn="just"/>
              <a:r>
                <a:rPr lang="ru-RU" sz="1000" dirty="0">
                  <a:latin typeface="Times New Roman" pitchFamily="18" charset="0"/>
                  <a:cs typeface="Times New Roman" pitchFamily="18" charset="0"/>
                </a:rPr>
                <a:t>-----------------------------</a:t>
              </a:r>
            </a:p>
            <a:p>
              <a:pPr algn="just"/>
              <a:r>
                <a:rPr lang="ru-RU" sz="1000" dirty="0">
                  <a:latin typeface="Times New Roman" pitchFamily="18" charset="0"/>
                  <a:cs typeface="Times New Roman" pitchFamily="18" charset="0"/>
                </a:rPr>
                <a:t>Превышение </a:t>
              </a:r>
            </a:p>
            <a:p>
              <a:pPr algn="just"/>
              <a:r>
                <a:rPr lang="ru-RU" sz="1000" dirty="0">
                  <a:latin typeface="Times New Roman" pitchFamily="18" charset="0"/>
                  <a:cs typeface="Times New Roman" pitchFamily="18" charset="0"/>
                </a:rPr>
                <a:t>НДС          </a:t>
              </a:r>
              <a:r>
                <a:rPr lang="ru-RU" sz="1000" dirty="0" smtClean="0">
                  <a:latin typeface="Times New Roman" pitchFamily="18" charset="0"/>
                  <a:cs typeface="Times New Roman" pitchFamily="18" charset="0"/>
                </a:rPr>
                <a:t>       </a:t>
              </a:r>
              <a:r>
                <a:rPr lang="ru-RU" sz="1100" b="1" dirty="0" smtClean="0">
                  <a:latin typeface="Times New Roman" pitchFamily="18" charset="0"/>
                  <a:cs typeface="Times New Roman" pitchFamily="18" charset="0"/>
                </a:rPr>
                <a:t> -36 тг</a:t>
              </a:r>
              <a:endParaRPr lang="ru-RU" sz="1000" b="1" dirty="0">
                <a:latin typeface="Times New Roman" pitchFamily="18" charset="0"/>
                <a:cs typeface="Times New Roman" pitchFamily="18" charset="0"/>
              </a:endParaRPr>
            </a:p>
            <a:p>
              <a:pPr algn="just"/>
              <a:endParaRPr lang="ru-RU" sz="1000" b="1" dirty="0"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22" name="Овал 21"/>
            <p:cNvSpPr/>
            <p:nvPr/>
          </p:nvSpPr>
          <p:spPr>
            <a:xfrm>
              <a:off x="7808168" y="4942776"/>
              <a:ext cx="396000" cy="396000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27" name="Группа 43"/>
          <p:cNvGrpSpPr/>
          <p:nvPr/>
        </p:nvGrpSpPr>
        <p:grpSpPr>
          <a:xfrm>
            <a:off x="695811" y="2296164"/>
            <a:ext cx="1368549" cy="1513679"/>
            <a:chOff x="179388" y="1772816"/>
            <a:chExt cx="1368549" cy="1513679"/>
          </a:xfrm>
        </p:grpSpPr>
        <p:sp>
          <p:nvSpPr>
            <p:cNvPr id="31" name="AutoShape 10"/>
            <p:cNvSpPr>
              <a:spLocks noChangeArrowheads="1"/>
            </p:cNvSpPr>
            <p:nvPr/>
          </p:nvSpPr>
          <p:spPr bwMode="auto">
            <a:xfrm>
              <a:off x="179388" y="1772816"/>
              <a:ext cx="1368425" cy="1008757"/>
            </a:xfrm>
            <a:prstGeom prst="can">
              <a:avLst>
                <a:gd name="adj" fmla="val 24245"/>
              </a:avLst>
            </a:pr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algn="ctr">
                <a:defRPr/>
              </a:pPr>
              <a:endParaRPr lang="ru-RU" sz="1100" dirty="0" smtClean="0">
                <a:latin typeface="Times New Roman" pitchFamily="18" charset="0"/>
                <a:cs typeface="Times New Roman" pitchFamily="18" charset="0"/>
              </a:endParaRPr>
            </a:p>
            <a:p>
              <a:pPr algn="ctr">
                <a:defRPr/>
              </a:pPr>
              <a:endParaRPr lang="ru-RU" sz="1100" dirty="0">
                <a:latin typeface="Times New Roman" pitchFamily="18" charset="0"/>
                <a:cs typeface="Times New Roman" pitchFamily="18" charset="0"/>
              </a:endParaRPr>
            </a:p>
            <a:p>
              <a:pPr algn="ctr">
                <a:defRPr/>
              </a:pPr>
              <a:endParaRPr lang="ru-RU" sz="800" dirty="0">
                <a:latin typeface="Times New Roman" pitchFamily="18" charset="0"/>
                <a:cs typeface="Times New Roman" pitchFamily="18" charset="0"/>
              </a:endParaRPr>
            </a:p>
            <a:p>
              <a:pPr algn="ctr"/>
              <a:endParaRPr lang="ru-RU" sz="1100" dirty="0" smtClean="0">
                <a:latin typeface="Times New Roman" pitchFamily="18" charset="0"/>
                <a:cs typeface="Times New Roman" pitchFamily="18" charset="0"/>
              </a:endParaRPr>
            </a:p>
            <a:p>
              <a:pPr algn="ctr">
                <a:defRPr/>
              </a:pPr>
              <a:endParaRPr lang="ru-RU" sz="1100" dirty="0"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32" name="AutoShape 42"/>
            <p:cNvSpPr>
              <a:spLocks noChangeArrowheads="1"/>
            </p:cNvSpPr>
            <p:nvPr/>
          </p:nvSpPr>
          <p:spPr bwMode="auto">
            <a:xfrm>
              <a:off x="179512" y="1774495"/>
              <a:ext cx="1368425" cy="1512000"/>
            </a:xfrm>
            <a:prstGeom prst="can">
              <a:avLst>
                <a:gd name="adj" fmla="val 17449"/>
              </a:avLst>
            </a:pr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algn="ctr"/>
              <a:endParaRPr lang="ru-RU" sz="1100" dirty="0" smtClean="0">
                <a:latin typeface="Times New Roman" pitchFamily="18" charset="0"/>
                <a:cs typeface="Times New Roman" pitchFamily="18" charset="0"/>
              </a:endParaRPr>
            </a:p>
            <a:p>
              <a:pPr algn="ctr"/>
              <a:r>
                <a:rPr lang="ru-RU" sz="1100" dirty="0" smtClean="0">
                  <a:latin typeface="Times New Roman" pitchFamily="18" charset="0"/>
                  <a:cs typeface="Times New Roman" pitchFamily="18" charset="0"/>
                </a:rPr>
                <a:t>расчетный счет</a:t>
              </a:r>
            </a:p>
            <a:p>
              <a:pPr algn="ctr"/>
              <a:endParaRPr lang="ru-RU" sz="1100" dirty="0" smtClean="0">
                <a:latin typeface="Times New Roman" pitchFamily="18" charset="0"/>
                <a:cs typeface="Times New Roman" pitchFamily="18" charset="0"/>
              </a:endParaRPr>
            </a:p>
            <a:p>
              <a:pPr algn="ctr"/>
              <a:endParaRPr lang="ru-RU" sz="1100" dirty="0" smtClean="0">
                <a:latin typeface="Times New Roman" pitchFamily="18" charset="0"/>
                <a:cs typeface="Times New Roman" pitchFamily="18" charset="0"/>
              </a:endParaRPr>
            </a:p>
            <a:p>
              <a:pPr algn="ctr"/>
              <a:endParaRPr lang="ru-RU" sz="1100" dirty="0" smtClean="0">
                <a:latin typeface="Times New Roman" pitchFamily="18" charset="0"/>
                <a:cs typeface="Times New Roman" pitchFamily="18" charset="0"/>
              </a:endParaRPr>
            </a:p>
            <a:p>
              <a:pPr algn="ctr"/>
              <a:r>
                <a:rPr lang="ru-RU" sz="1100" dirty="0">
                  <a:latin typeface="Times New Roman" pitchFamily="18" charset="0"/>
                  <a:cs typeface="Times New Roman" pitchFamily="18" charset="0"/>
                </a:rPr>
                <a:t>к</a:t>
              </a:r>
              <a:r>
                <a:rPr lang="ru-RU" sz="1100" dirty="0" smtClean="0">
                  <a:latin typeface="Times New Roman" pitchFamily="18" charset="0"/>
                  <a:cs typeface="Times New Roman" pitchFamily="18" charset="0"/>
                </a:rPr>
                <a:t>онтрольный</a:t>
              </a:r>
            </a:p>
            <a:p>
              <a:pPr algn="ctr"/>
              <a:r>
                <a:rPr lang="ru-RU" sz="1100" dirty="0" smtClean="0">
                  <a:latin typeface="Times New Roman" pitchFamily="18" charset="0"/>
                  <a:cs typeface="Times New Roman" pitchFamily="18" charset="0"/>
                </a:rPr>
                <a:t> счет НДС </a:t>
              </a:r>
            </a:p>
          </p:txBody>
        </p:sp>
      </p:grpSp>
      <p:grpSp>
        <p:nvGrpSpPr>
          <p:cNvPr id="33" name="Группа 67"/>
          <p:cNvGrpSpPr/>
          <p:nvPr/>
        </p:nvGrpSpPr>
        <p:grpSpPr>
          <a:xfrm>
            <a:off x="3851269" y="3980923"/>
            <a:ext cx="1368000" cy="1656000"/>
            <a:chOff x="3419872" y="3695700"/>
            <a:chExt cx="1368000" cy="1656000"/>
          </a:xfrm>
        </p:grpSpPr>
        <p:sp>
          <p:nvSpPr>
            <p:cNvPr id="34" name="AutoShape 49"/>
            <p:cNvSpPr>
              <a:spLocks noChangeArrowheads="1"/>
            </p:cNvSpPr>
            <p:nvPr/>
          </p:nvSpPr>
          <p:spPr bwMode="auto">
            <a:xfrm>
              <a:off x="3419872" y="3695700"/>
              <a:ext cx="1368000" cy="1656000"/>
            </a:xfrm>
            <a:prstGeom prst="foldedCorner">
              <a:avLst>
                <a:gd name="adj" fmla="val 12500"/>
              </a:avLst>
            </a:prstGeom>
            <a:ln>
              <a:headEnd/>
              <a:tailEnd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algn="just"/>
              <a:endParaRPr lang="ru-RU" sz="1000" b="1" dirty="0">
                <a:latin typeface="Times New Roman" pitchFamily="18" charset="0"/>
                <a:cs typeface="Times New Roman" pitchFamily="18" charset="0"/>
              </a:endParaRPr>
            </a:p>
            <a:p>
              <a:pPr algn="just"/>
              <a:r>
                <a:rPr lang="ru-RU" sz="1000" b="1" dirty="0">
                  <a:latin typeface="Times New Roman" pitchFamily="18" charset="0"/>
                  <a:cs typeface="Times New Roman" pitchFamily="18" charset="0"/>
                </a:rPr>
                <a:t>Декларация по НДС </a:t>
              </a:r>
            </a:p>
            <a:p>
              <a:pPr algn="just"/>
              <a:r>
                <a:rPr lang="ru-RU" sz="1000" b="1" dirty="0">
                  <a:latin typeface="Times New Roman" pitchFamily="18" charset="0"/>
                  <a:cs typeface="Times New Roman" pitchFamily="18" charset="0"/>
                </a:rPr>
                <a:t>ТОО «Б»</a:t>
              </a:r>
            </a:p>
            <a:p>
              <a:pPr algn="just"/>
              <a:r>
                <a:rPr lang="ru-RU" sz="1000" b="1" dirty="0">
                  <a:latin typeface="Times New Roman" pitchFamily="18" charset="0"/>
                  <a:cs typeface="Times New Roman" pitchFamily="18" charset="0"/>
                </a:rPr>
                <a:t> </a:t>
              </a:r>
            </a:p>
            <a:p>
              <a:pPr algn="just"/>
              <a:r>
                <a:rPr lang="ru-RU" sz="1000" dirty="0">
                  <a:latin typeface="Times New Roman" pitchFamily="18" charset="0"/>
                  <a:cs typeface="Times New Roman" pitchFamily="18" charset="0"/>
                </a:rPr>
                <a:t>Начисление      - 36 </a:t>
              </a:r>
              <a:r>
                <a:rPr lang="ru-RU" sz="1000" dirty="0" smtClean="0">
                  <a:latin typeface="Times New Roman" pitchFamily="18" charset="0"/>
                  <a:cs typeface="Times New Roman" pitchFamily="18" charset="0"/>
                </a:rPr>
                <a:t>тг</a:t>
              </a:r>
              <a:endParaRPr lang="ru-RU" sz="1000" dirty="0">
                <a:latin typeface="Times New Roman" pitchFamily="18" charset="0"/>
                <a:cs typeface="Times New Roman" pitchFamily="18" charset="0"/>
              </a:endParaRPr>
            </a:p>
            <a:p>
              <a:pPr algn="just"/>
              <a:r>
                <a:rPr lang="ru-RU" sz="1000" dirty="0">
                  <a:latin typeface="Times New Roman" pitchFamily="18" charset="0"/>
                  <a:cs typeface="Times New Roman" pitchFamily="18" charset="0"/>
                </a:rPr>
                <a:t>          минус</a:t>
              </a:r>
            </a:p>
            <a:p>
              <a:pPr algn="just"/>
              <a:r>
                <a:rPr lang="ru-RU" sz="1000" dirty="0">
                  <a:latin typeface="Times New Roman" pitchFamily="18" charset="0"/>
                  <a:cs typeface="Times New Roman" pitchFamily="18" charset="0"/>
                </a:rPr>
                <a:t>Зачет                 - 12 </a:t>
              </a:r>
              <a:r>
                <a:rPr lang="ru-RU" sz="1000" dirty="0" smtClean="0">
                  <a:latin typeface="Times New Roman" pitchFamily="18" charset="0"/>
                  <a:cs typeface="Times New Roman" pitchFamily="18" charset="0"/>
                </a:rPr>
                <a:t>тг</a:t>
              </a:r>
              <a:endParaRPr lang="ru-RU" sz="1000" dirty="0">
                <a:latin typeface="Times New Roman" pitchFamily="18" charset="0"/>
                <a:cs typeface="Times New Roman" pitchFamily="18" charset="0"/>
              </a:endParaRPr>
            </a:p>
            <a:p>
              <a:pPr algn="just"/>
              <a:r>
                <a:rPr lang="ru-RU" sz="1000" dirty="0">
                  <a:latin typeface="Times New Roman" pitchFamily="18" charset="0"/>
                  <a:cs typeface="Times New Roman" pitchFamily="18" charset="0"/>
                </a:rPr>
                <a:t>-----------------------------</a:t>
              </a:r>
            </a:p>
            <a:p>
              <a:pPr algn="just"/>
              <a:r>
                <a:rPr lang="ru-RU" sz="1000" dirty="0">
                  <a:latin typeface="Times New Roman" pitchFamily="18" charset="0"/>
                  <a:cs typeface="Times New Roman" pitchFamily="18" charset="0"/>
                </a:rPr>
                <a:t>НДС к  уплате  </a:t>
              </a:r>
              <a:r>
                <a:rPr lang="ru-RU" sz="1000" dirty="0" smtClean="0"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ru-RU" sz="1100" b="1" dirty="0">
                  <a:latin typeface="Times New Roman" pitchFamily="18" charset="0"/>
                  <a:cs typeface="Times New Roman" pitchFamily="18" charset="0"/>
                </a:rPr>
                <a:t>24 </a:t>
              </a:r>
              <a:r>
                <a:rPr lang="ru-RU" sz="1100" b="1" dirty="0" smtClean="0">
                  <a:latin typeface="Times New Roman" pitchFamily="18" charset="0"/>
                  <a:cs typeface="Times New Roman" pitchFamily="18" charset="0"/>
                </a:rPr>
                <a:t>тг</a:t>
              </a:r>
              <a:endParaRPr lang="ru-RU" sz="1100" b="1" dirty="0">
                <a:latin typeface="Times New Roman" pitchFamily="18" charset="0"/>
                <a:cs typeface="Times New Roman" pitchFamily="18" charset="0"/>
              </a:endParaRPr>
            </a:p>
            <a:p>
              <a:pPr algn="just"/>
              <a:endParaRPr lang="ru-RU" sz="1000" b="1" dirty="0"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35" name="Овал 34"/>
            <p:cNvSpPr/>
            <p:nvPr/>
          </p:nvSpPr>
          <p:spPr>
            <a:xfrm>
              <a:off x="4322068" y="4771628"/>
              <a:ext cx="396000" cy="396000"/>
            </a:xfrm>
            <a:prstGeom prst="ellipse">
              <a:avLst/>
            </a:prstGeom>
            <a:noFill/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36" name="Группа 66"/>
          <p:cNvGrpSpPr/>
          <p:nvPr/>
        </p:nvGrpSpPr>
        <p:grpSpPr>
          <a:xfrm>
            <a:off x="696957" y="3986256"/>
            <a:ext cx="1368000" cy="1656000"/>
            <a:chOff x="256734" y="3815333"/>
            <a:chExt cx="1368000" cy="1656000"/>
          </a:xfrm>
        </p:grpSpPr>
        <p:sp>
          <p:nvSpPr>
            <p:cNvPr id="37" name="AutoShape 28"/>
            <p:cNvSpPr>
              <a:spLocks noChangeArrowheads="1"/>
            </p:cNvSpPr>
            <p:nvPr/>
          </p:nvSpPr>
          <p:spPr bwMode="auto">
            <a:xfrm>
              <a:off x="256734" y="3815333"/>
              <a:ext cx="1368000" cy="1656000"/>
            </a:xfrm>
            <a:prstGeom prst="foldedCorner">
              <a:avLst>
                <a:gd name="adj" fmla="val 12500"/>
              </a:avLst>
            </a:prstGeom>
            <a:ln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algn="just">
                <a:defRPr/>
              </a:pPr>
              <a:endParaRPr lang="ru-RU" sz="1000" b="1" dirty="0">
                <a:latin typeface="Times New Roman" pitchFamily="18" charset="0"/>
                <a:cs typeface="Times New Roman" pitchFamily="18" charset="0"/>
              </a:endParaRPr>
            </a:p>
            <a:p>
              <a:pPr algn="just">
                <a:defRPr/>
              </a:pPr>
              <a:r>
                <a:rPr lang="ru-RU" sz="1000" b="1" dirty="0">
                  <a:latin typeface="Times New Roman" pitchFamily="18" charset="0"/>
                  <a:cs typeface="Times New Roman" pitchFamily="18" charset="0"/>
                </a:rPr>
                <a:t>Декларация по НДС </a:t>
              </a:r>
            </a:p>
            <a:p>
              <a:pPr algn="just">
                <a:defRPr/>
              </a:pPr>
              <a:r>
                <a:rPr lang="ru-RU" sz="1000" b="1" dirty="0">
                  <a:latin typeface="Times New Roman" pitchFamily="18" charset="0"/>
                  <a:cs typeface="Times New Roman" pitchFamily="18" charset="0"/>
                </a:rPr>
                <a:t>ТОО «А»</a:t>
              </a:r>
            </a:p>
            <a:p>
              <a:pPr algn="just">
                <a:defRPr/>
              </a:pPr>
              <a:r>
                <a:rPr lang="ru-RU" sz="1000" b="1" dirty="0">
                  <a:latin typeface="Times New Roman" pitchFamily="18" charset="0"/>
                  <a:cs typeface="Times New Roman" pitchFamily="18" charset="0"/>
                </a:rPr>
                <a:t> </a:t>
              </a:r>
            </a:p>
            <a:p>
              <a:pPr algn="just">
                <a:defRPr/>
              </a:pPr>
              <a:r>
                <a:rPr lang="ru-RU" sz="1000" dirty="0">
                  <a:latin typeface="Times New Roman" pitchFamily="18" charset="0"/>
                  <a:cs typeface="Times New Roman" pitchFamily="18" charset="0"/>
                </a:rPr>
                <a:t>Начисление      - 12 </a:t>
              </a:r>
              <a:r>
                <a:rPr lang="ru-RU" sz="1000" dirty="0" smtClean="0">
                  <a:latin typeface="Times New Roman" pitchFamily="18" charset="0"/>
                  <a:cs typeface="Times New Roman" pitchFamily="18" charset="0"/>
                </a:rPr>
                <a:t>тг</a:t>
              </a:r>
              <a:endParaRPr lang="ru-RU" sz="1000" dirty="0">
                <a:latin typeface="Times New Roman" pitchFamily="18" charset="0"/>
                <a:cs typeface="Times New Roman" pitchFamily="18" charset="0"/>
              </a:endParaRPr>
            </a:p>
            <a:p>
              <a:pPr algn="just">
                <a:defRPr/>
              </a:pPr>
              <a:r>
                <a:rPr lang="ru-RU" sz="1000" dirty="0">
                  <a:latin typeface="Times New Roman" pitchFamily="18" charset="0"/>
                  <a:cs typeface="Times New Roman" pitchFamily="18" charset="0"/>
                </a:rPr>
                <a:t>          минус</a:t>
              </a:r>
            </a:p>
            <a:p>
              <a:pPr algn="just">
                <a:defRPr/>
              </a:pPr>
              <a:r>
                <a:rPr lang="ru-RU" sz="1000" dirty="0">
                  <a:latin typeface="Times New Roman" pitchFamily="18" charset="0"/>
                  <a:cs typeface="Times New Roman" pitchFamily="18" charset="0"/>
                </a:rPr>
                <a:t>Зачет                 - 0 </a:t>
              </a:r>
              <a:r>
                <a:rPr lang="ru-RU" sz="1000" dirty="0" smtClean="0">
                  <a:latin typeface="Times New Roman" pitchFamily="18" charset="0"/>
                  <a:cs typeface="Times New Roman" pitchFamily="18" charset="0"/>
                </a:rPr>
                <a:t>тг</a:t>
              </a:r>
              <a:endParaRPr lang="ru-RU" sz="1000" dirty="0">
                <a:latin typeface="Times New Roman" pitchFamily="18" charset="0"/>
                <a:cs typeface="Times New Roman" pitchFamily="18" charset="0"/>
              </a:endParaRPr>
            </a:p>
            <a:p>
              <a:pPr algn="just">
                <a:defRPr/>
              </a:pPr>
              <a:r>
                <a:rPr lang="ru-RU" sz="1000" dirty="0">
                  <a:latin typeface="Times New Roman" pitchFamily="18" charset="0"/>
                  <a:cs typeface="Times New Roman" pitchFamily="18" charset="0"/>
                </a:rPr>
                <a:t>-----------------------------</a:t>
              </a:r>
            </a:p>
            <a:p>
              <a:pPr algn="just">
                <a:defRPr/>
              </a:pPr>
              <a:r>
                <a:rPr lang="ru-RU" sz="1000" dirty="0">
                  <a:latin typeface="Times New Roman" pitchFamily="18" charset="0"/>
                  <a:cs typeface="Times New Roman" pitchFamily="18" charset="0"/>
                </a:rPr>
                <a:t>НДС к  уплате  </a:t>
              </a:r>
              <a:r>
                <a:rPr lang="ru-RU" sz="1000" dirty="0" smtClean="0"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ru-RU" sz="1200" b="1" dirty="0">
                  <a:latin typeface="Times New Roman" pitchFamily="18" charset="0"/>
                  <a:cs typeface="Times New Roman" pitchFamily="18" charset="0"/>
                </a:rPr>
                <a:t>12 </a:t>
              </a:r>
              <a:r>
                <a:rPr lang="ru-RU" sz="1200" b="1" dirty="0" smtClean="0">
                  <a:latin typeface="Times New Roman" pitchFamily="18" charset="0"/>
                  <a:cs typeface="Times New Roman" pitchFamily="18" charset="0"/>
                </a:rPr>
                <a:t>тг</a:t>
              </a:r>
              <a:endParaRPr lang="ru-RU" sz="1000" b="1" dirty="0">
                <a:latin typeface="Times New Roman" pitchFamily="18" charset="0"/>
                <a:cs typeface="Times New Roman" pitchFamily="18" charset="0"/>
              </a:endParaRPr>
            </a:p>
            <a:p>
              <a:pPr algn="just">
                <a:defRPr/>
              </a:pPr>
              <a:endParaRPr lang="ru-RU" sz="1000" dirty="0"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38" name="Овал 37"/>
            <p:cNvSpPr/>
            <p:nvPr/>
          </p:nvSpPr>
          <p:spPr>
            <a:xfrm>
              <a:off x="1184901" y="4885928"/>
              <a:ext cx="396000" cy="396000"/>
            </a:xfrm>
            <a:prstGeom prst="ellipse">
              <a:avLst/>
            </a:prstGeom>
            <a:noFill/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39" name="TextBox 38"/>
          <p:cNvSpPr txBox="1"/>
          <p:nvPr/>
        </p:nvSpPr>
        <p:spPr>
          <a:xfrm>
            <a:off x="8629449" y="2887004"/>
            <a:ext cx="3930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36</a:t>
            </a:r>
            <a:endParaRPr lang="ru-RU" sz="1600" b="1" dirty="0"/>
          </a:p>
        </p:txBody>
      </p:sp>
      <p:grpSp>
        <p:nvGrpSpPr>
          <p:cNvPr id="40" name="Группа 79"/>
          <p:cNvGrpSpPr/>
          <p:nvPr/>
        </p:nvGrpSpPr>
        <p:grpSpPr>
          <a:xfrm>
            <a:off x="3855751" y="2309274"/>
            <a:ext cx="1368425" cy="1513679"/>
            <a:chOff x="3481504" y="2052626"/>
            <a:chExt cx="1368425" cy="1513679"/>
          </a:xfrm>
        </p:grpSpPr>
        <p:sp>
          <p:nvSpPr>
            <p:cNvPr id="41" name="AutoShape 10"/>
            <p:cNvSpPr>
              <a:spLocks noChangeArrowheads="1"/>
            </p:cNvSpPr>
            <p:nvPr/>
          </p:nvSpPr>
          <p:spPr bwMode="auto">
            <a:xfrm>
              <a:off x="3483089" y="2052626"/>
              <a:ext cx="1360800" cy="1008757"/>
            </a:xfrm>
            <a:prstGeom prst="can">
              <a:avLst>
                <a:gd name="adj" fmla="val 24245"/>
              </a:avLst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ru-RU" sz="1100" dirty="0" smtClean="0">
                <a:latin typeface="Times New Roman" pitchFamily="18" charset="0"/>
                <a:cs typeface="Times New Roman" pitchFamily="18" charset="0"/>
              </a:endParaRPr>
            </a:p>
            <a:p>
              <a:pPr algn="ctr">
                <a:defRPr/>
              </a:pPr>
              <a:endParaRPr lang="ru-RU" sz="1100" dirty="0">
                <a:latin typeface="Times New Roman" pitchFamily="18" charset="0"/>
                <a:cs typeface="Times New Roman" pitchFamily="18" charset="0"/>
              </a:endParaRPr>
            </a:p>
            <a:p>
              <a:pPr algn="ctr">
                <a:defRPr/>
              </a:pPr>
              <a:endParaRPr lang="ru-RU" sz="800" dirty="0">
                <a:latin typeface="Times New Roman" pitchFamily="18" charset="0"/>
                <a:cs typeface="Times New Roman" pitchFamily="18" charset="0"/>
              </a:endParaRPr>
            </a:p>
            <a:p>
              <a:pPr algn="ctr"/>
              <a:endParaRPr lang="ru-RU" sz="1100" dirty="0" smtClean="0">
                <a:latin typeface="Times New Roman" pitchFamily="18" charset="0"/>
                <a:cs typeface="Times New Roman" pitchFamily="18" charset="0"/>
              </a:endParaRPr>
            </a:p>
            <a:p>
              <a:pPr algn="ctr">
                <a:defRPr/>
              </a:pPr>
              <a:endParaRPr lang="ru-RU" sz="1100" dirty="0"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42" name="AutoShape 42"/>
            <p:cNvSpPr>
              <a:spLocks noChangeArrowheads="1"/>
            </p:cNvSpPr>
            <p:nvPr/>
          </p:nvSpPr>
          <p:spPr bwMode="auto">
            <a:xfrm>
              <a:off x="3481504" y="2054305"/>
              <a:ext cx="1368425" cy="1512000"/>
            </a:xfrm>
            <a:prstGeom prst="can">
              <a:avLst>
                <a:gd name="adj" fmla="val 17449"/>
              </a:avLst>
            </a:prstGeom>
            <a:ln>
              <a:headEnd/>
              <a:tailEnd/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algn="ctr"/>
              <a:endParaRPr lang="ru-RU" sz="1100" dirty="0" smtClean="0">
                <a:latin typeface="Times New Roman" pitchFamily="18" charset="0"/>
                <a:cs typeface="Times New Roman" pitchFamily="18" charset="0"/>
              </a:endParaRPr>
            </a:p>
            <a:p>
              <a:pPr algn="ctr"/>
              <a:r>
                <a:rPr lang="ru-RU" sz="1100" dirty="0" smtClean="0">
                  <a:latin typeface="Times New Roman" pitchFamily="18" charset="0"/>
                  <a:cs typeface="Times New Roman" pitchFamily="18" charset="0"/>
                </a:rPr>
                <a:t>расчетный счет</a:t>
              </a:r>
            </a:p>
            <a:p>
              <a:pPr algn="ctr"/>
              <a:endParaRPr lang="ru-RU" sz="1100" dirty="0" smtClean="0">
                <a:latin typeface="Times New Roman" pitchFamily="18" charset="0"/>
                <a:cs typeface="Times New Roman" pitchFamily="18" charset="0"/>
              </a:endParaRPr>
            </a:p>
            <a:p>
              <a:pPr algn="ctr"/>
              <a:endParaRPr lang="ru-RU" sz="1100" dirty="0" smtClean="0">
                <a:latin typeface="Times New Roman" pitchFamily="18" charset="0"/>
                <a:cs typeface="Times New Roman" pitchFamily="18" charset="0"/>
              </a:endParaRPr>
            </a:p>
            <a:p>
              <a:pPr algn="ctr"/>
              <a:endParaRPr lang="ru-RU" sz="1100" dirty="0" smtClean="0">
                <a:latin typeface="Times New Roman" pitchFamily="18" charset="0"/>
                <a:cs typeface="Times New Roman" pitchFamily="18" charset="0"/>
              </a:endParaRPr>
            </a:p>
            <a:p>
              <a:pPr algn="ctr"/>
              <a:r>
                <a:rPr lang="ru-RU" sz="1100" dirty="0">
                  <a:latin typeface="Times New Roman" pitchFamily="18" charset="0"/>
                  <a:cs typeface="Times New Roman" pitchFamily="18" charset="0"/>
                </a:rPr>
                <a:t>к</a:t>
              </a:r>
              <a:r>
                <a:rPr lang="ru-RU" sz="1100" dirty="0" smtClean="0">
                  <a:latin typeface="Times New Roman" pitchFamily="18" charset="0"/>
                  <a:cs typeface="Times New Roman" pitchFamily="18" charset="0"/>
                </a:rPr>
                <a:t>онтрольный</a:t>
              </a:r>
              <a:endParaRPr lang="ru-RU" sz="1100" dirty="0">
                <a:latin typeface="Times New Roman" pitchFamily="18" charset="0"/>
                <a:cs typeface="Times New Roman" pitchFamily="18" charset="0"/>
              </a:endParaRPr>
            </a:p>
            <a:p>
              <a:pPr algn="ctr"/>
              <a:r>
                <a:rPr lang="ru-RU" sz="1100" dirty="0">
                  <a:latin typeface="Times New Roman" pitchFamily="18" charset="0"/>
                  <a:cs typeface="Times New Roman" pitchFamily="18" charset="0"/>
                </a:rPr>
                <a:t> счет НДС </a:t>
              </a:r>
            </a:p>
          </p:txBody>
        </p:sp>
      </p:grpSp>
      <p:cxnSp>
        <p:nvCxnSpPr>
          <p:cNvPr id="43" name="Скругленная соединительная линия 42"/>
          <p:cNvCxnSpPr/>
          <p:nvPr/>
        </p:nvCxnSpPr>
        <p:spPr>
          <a:xfrm rot="180000">
            <a:off x="8452857" y="2814750"/>
            <a:ext cx="12700" cy="576064"/>
          </a:xfrm>
          <a:prstGeom prst="curvedConnector3">
            <a:avLst>
              <a:gd name="adj1" fmla="val 1800000"/>
            </a:avLst>
          </a:prstGeom>
          <a:ln>
            <a:tailEnd type="stealt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44" name="AutoShape 10"/>
          <p:cNvSpPr>
            <a:spLocks noChangeArrowheads="1"/>
          </p:cNvSpPr>
          <p:nvPr/>
        </p:nvSpPr>
        <p:spPr bwMode="auto">
          <a:xfrm>
            <a:off x="7082970" y="2275938"/>
            <a:ext cx="1368425" cy="1008757"/>
          </a:xfrm>
          <a:prstGeom prst="can">
            <a:avLst>
              <a:gd name="adj" fmla="val 24245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ru-RU" sz="1100" dirty="0" smtClean="0"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1100" dirty="0"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800" dirty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100" dirty="0" smtClean="0"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11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5" name="AutoShape 42"/>
          <p:cNvSpPr>
            <a:spLocks noChangeArrowheads="1"/>
          </p:cNvSpPr>
          <p:nvPr/>
        </p:nvSpPr>
        <p:spPr bwMode="auto">
          <a:xfrm>
            <a:off x="7083094" y="2277617"/>
            <a:ext cx="1368425" cy="1512000"/>
          </a:xfrm>
          <a:prstGeom prst="can">
            <a:avLst>
              <a:gd name="adj" fmla="val 17449"/>
            </a:avLst>
          </a:prstGeom>
          <a:ln>
            <a:headEnd/>
            <a:tailEnd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endParaRPr lang="ru-RU" sz="11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100" dirty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расчетный счет</a:t>
            </a:r>
          </a:p>
          <a:p>
            <a:pPr algn="ctr"/>
            <a:endParaRPr lang="ru-RU" sz="11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1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1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контрольный</a:t>
            </a:r>
            <a:endParaRPr lang="ru-RU" sz="1100" dirty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100" dirty="0">
                <a:latin typeface="Times New Roman" pitchFamily="18" charset="0"/>
                <a:cs typeface="Times New Roman" pitchFamily="18" charset="0"/>
              </a:rPr>
              <a:t> счет НДС </a:t>
            </a:r>
          </a:p>
          <a:p>
            <a:pPr algn="ctr"/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 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2689560" y="2532394"/>
            <a:ext cx="62254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200" b="1" dirty="0" smtClean="0">
                <a:latin typeface="Arial" pitchFamily="34" charset="0"/>
                <a:cs typeface="Arial" pitchFamily="34" charset="0"/>
              </a:rPr>
              <a:t>100 тг</a:t>
            </a:r>
            <a:endParaRPr lang="ru-RU" sz="12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2480129" y="3037576"/>
            <a:ext cx="114165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600" b="1" dirty="0" smtClean="0">
                <a:latin typeface="Arial" pitchFamily="34" charset="0"/>
                <a:cs typeface="Arial" pitchFamily="34" charset="0"/>
              </a:rPr>
              <a:t>12 </a:t>
            </a:r>
            <a:r>
              <a:rPr lang="ru-RU" sz="1600" b="1" dirty="0" err="1" smtClean="0">
                <a:latin typeface="Arial" pitchFamily="34" charset="0"/>
                <a:cs typeface="Arial" pitchFamily="34" charset="0"/>
              </a:rPr>
              <a:t>тг</a:t>
            </a: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(НДС)</a:t>
            </a:r>
            <a:endParaRPr lang="ru-RU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5902169" y="2531799"/>
            <a:ext cx="62228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200" b="1" dirty="0" smtClean="0">
                <a:latin typeface="Arial" pitchFamily="34" charset="0"/>
                <a:cs typeface="Arial" pitchFamily="34" charset="0"/>
              </a:rPr>
              <a:t>300 тг</a:t>
            </a:r>
            <a:endParaRPr lang="ru-RU" sz="12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5684832" y="3023085"/>
            <a:ext cx="114165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600" b="1" dirty="0" smtClean="0">
                <a:latin typeface="Arial" pitchFamily="34" charset="0"/>
                <a:cs typeface="Arial" pitchFamily="34" charset="0"/>
              </a:rPr>
              <a:t>36 </a:t>
            </a:r>
            <a:r>
              <a:rPr lang="ru-RU" sz="1600" b="1" dirty="0" err="1" smtClean="0">
                <a:latin typeface="Arial" pitchFamily="34" charset="0"/>
                <a:cs typeface="Arial" pitchFamily="34" charset="0"/>
              </a:rPr>
              <a:t>тг</a:t>
            </a: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>
                <a:latin typeface="Arial" pitchFamily="34" charset="0"/>
                <a:cs typeface="Arial" pitchFamily="34" charset="0"/>
              </a:rPr>
              <a:t>(НДС)</a:t>
            </a:r>
          </a:p>
          <a:p>
            <a:pPr algn="ctr"/>
            <a:endParaRPr lang="ru-RU" sz="1200" b="1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50" name="Прямая со стрелкой 49"/>
          <p:cNvCxnSpPr/>
          <p:nvPr/>
        </p:nvCxnSpPr>
        <p:spPr>
          <a:xfrm rot="10800000">
            <a:off x="5441824" y="2756955"/>
            <a:ext cx="1440000" cy="1588"/>
          </a:xfrm>
          <a:prstGeom prst="straightConnector1">
            <a:avLst/>
          </a:prstGeom>
          <a:ln>
            <a:tailEnd type="stealth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51" name="Прямая со стрелкой 50"/>
          <p:cNvCxnSpPr/>
          <p:nvPr/>
        </p:nvCxnSpPr>
        <p:spPr>
          <a:xfrm rot="10800000">
            <a:off x="5441824" y="3342128"/>
            <a:ext cx="1440000" cy="1588"/>
          </a:xfrm>
          <a:prstGeom prst="straightConnector1">
            <a:avLst/>
          </a:prstGeom>
          <a:ln>
            <a:tailEnd type="stealth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52" name="Прямая со стрелкой 51"/>
          <p:cNvCxnSpPr/>
          <p:nvPr/>
        </p:nvCxnSpPr>
        <p:spPr>
          <a:xfrm rot="10800000">
            <a:off x="2242107" y="2756954"/>
            <a:ext cx="1440000" cy="1588"/>
          </a:xfrm>
          <a:prstGeom prst="straightConnector1">
            <a:avLst/>
          </a:prstGeom>
          <a:ln>
            <a:tailEnd type="stealt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3" name="Прямая со стрелкой 52"/>
          <p:cNvCxnSpPr/>
          <p:nvPr/>
        </p:nvCxnSpPr>
        <p:spPr>
          <a:xfrm rot="10800000">
            <a:off x="2232168" y="3362005"/>
            <a:ext cx="1440000" cy="1588"/>
          </a:xfrm>
          <a:prstGeom prst="straightConnector1">
            <a:avLst/>
          </a:prstGeom>
          <a:ln>
            <a:tailEnd type="stealt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4" name="Прямоугольник 53"/>
          <p:cNvSpPr/>
          <p:nvPr/>
        </p:nvSpPr>
        <p:spPr>
          <a:xfrm rot="5400000">
            <a:off x="2446833" y="4776865"/>
            <a:ext cx="110799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04965B"/>
                </a:solidFill>
                <a:latin typeface="Arial" pitchFamily="34" charset="0"/>
                <a:cs typeface="Arial" pitchFamily="34" charset="0"/>
              </a:rPr>
              <a:t>12 </a:t>
            </a:r>
            <a:r>
              <a:rPr lang="ru-RU" sz="1600" b="1" dirty="0" err="1" smtClean="0">
                <a:solidFill>
                  <a:srgbClr val="04965B"/>
                </a:solidFill>
                <a:latin typeface="Arial" pitchFamily="34" charset="0"/>
                <a:cs typeface="Arial" pitchFamily="34" charset="0"/>
              </a:rPr>
              <a:t>тг</a:t>
            </a:r>
            <a:r>
              <a:rPr lang="ru-RU" sz="1600" b="1" dirty="0" smtClean="0">
                <a:solidFill>
                  <a:srgbClr val="04965B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smtClean="0">
                <a:latin typeface="Arial" pitchFamily="34" charset="0"/>
                <a:cs typeface="Arial" pitchFamily="34" charset="0"/>
              </a:rPr>
              <a:t>(НДС)</a:t>
            </a:r>
            <a:endParaRPr lang="ru-RU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5" name="Прямоугольник 54"/>
          <p:cNvSpPr/>
          <p:nvPr/>
        </p:nvSpPr>
        <p:spPr>
          <a:xfrm rot="5400000">
            <a:off x="5590994" y="4836268"/>
            <a:ext cx="114165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04965B"/>
                </a:solidFill>
                <a:latin typeface="Arial" pitchFamily="34" charset="0"/>
                <a:cs typeface="Arial" pitchFamily="34" charset="0"/>
              </a:rPr>
              <a:t>24 </a:t>
            </a:r>
            <a:r>
              <a:rPr lang="ru-RU" sz="1600" b="1" dirty="0" err="1" smtClean="0">
                <a:solidFill>
                  <a:srgbClr val="04965B"/>
                </a:solidFill>
                <a:latin typeface="Arial" pitchFamily="34" charset="0"/>
                <a:cs typeface="Arial" pitchFamily="34" charset="0"/>
              </a:rPr>
              <a:t>тг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>
                <a:latin typeface="Arial" pitchFamily="34" charset="0"/>
                <a:cs typeface="Arial" pitchFamily="34" charset="0"/>
              </a:rPr>
              <a:t>(НДС)</a:t>
            </a:r>
            <a:endParaRPr lang="ru-RU" sz="1200" b="1" dirty="0">
              <a:solidFill>
                <a:srgbClr val="04965B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7165893" y="5978024"/>
            <a:ext cx="114165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36 </a:t>
            </a:r>
            <a:r>
              <a:rPr lang="ru-RU" sz="1600" b="1" dirty="0" err="1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тг</a:t>
            </a:r>
            <a:r>
              <a:rPr lang="ru-RU" sz="16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(НДС)</a:t>
            </a:r>
            <a:endParaRPr lang="ru-RU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7" name="Полилиния 56"/>
          <p:cNvSpPr/>
          <p:nvPr/>
        </p:nvSpPr>
        <p:spPr>
          <a:xfrm>
            <a:off x="6451009" y="2665012"/>
            <a:ext cx="2642387" cy="3651566"/>
          </a:xfrm>
          <a:custGeom>
            <a:avLst/>
            <a:gdLst>
              <a:gd name="connsiteX0" fmla="*/ 0 w 2525486"/>
              <a:gd name="connsiteY0" fmla="*/ 3929742 h 3929742"/>
              <a:gd name="connsiteX1" fmla="*/ 2525486 w 2525486"/>
              <a:gd name="connsiteY1" fmla="*/ 3929742 h 3929742"/>
              <a:gd name="connsiteX2" fmla="*/ 2503715 w 2525486"/>
              <a:gd name="connsiteY2" fmla="*/ 0 h 3929742"/>
              <a:gd name="connsiteX3" fmla="*/ 2002972 w 2525486"/>
              <a:gd name="connsiteY3" fmla="*/ 0 h 39297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5486" h="3929742">
                <a:moveTo>
                  <a:pt x="0" y="3929742"/>
                </a:moveTo>
                <a:lnTo>
                  <a:pt x="2525486" y="3929742"/>
                </a:lnTo>
                <a:lnTo>
                  <a:pt x="2503715" y="0"/>
                </a:lnTo>
                <a:lnTo>
                  <a:pt x="2002972" y="0"/>
                </a:lnTo>
              </a:path>
            </a:pathLst>
          </a:custGeom>
          <a:ln>
            <a:headEnd type="none" w="med" len="med"/>
            <a:tailEnd type="triangle" w="med" len="med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Полилиния 57"/>
          <p:cNvSpPr/>
          <p:nvPr/>
        </p:nvSpPr>
        <p:spPr>
          <a:xfrm>
            <a:off x="5262198" y="3531509"/>
            <a:ext cx="713599" cy="2400449"/>
          </a:xfrm>
          <a:custGeom>
            <a:avLst/>
            <a:gdLst>
              <a:gd name="connsiteX0" fmla="*/ 0 w 707571"/>
              <a:gd name="connsiteY0" fmla="*/ 32658 h 2634343"/>
              <a:gd name="connsiteX1" fmla="*/ 642257 w 707571"/>
              <a:gd name="connsiteY1" fmla="*/ 43543 h 2634343"/>
              <a:gd name="connsiteX2" fmla="*/ 631371 w 707571"/>
              <a:gd name="connsiteY2" fmla="*/ 0 h 2634343"/>
              <a:gd name="connsiteX3" fmla="*/ 587828 w 707571"/>
              <a:gd name="connsiteY3" fmla="*/ 21772 h 2634343"/>
              <a:gd name="connsiteX4" fmla="*/ 522514 w 707571"/>
              <a:gd name="connsiteY4" fmla="*/ 54429 h 2634343"/>
              <a:gd name="connsiteX5" fmla="*/ 478971 w 707571"/>
              <a:gd name="connsiteY5" fmla="*/ 65315 h 2634343"/>
              <a:gd name="connsiteX6" fmla="*/ 707571 w 707571"/>
              <a:gd name="connsiteY6" fmla="*/ 544286 h 2634343"/>
              <a:gd name="connsiteX7" fmla="*/ 707571 w 707571"/>
              <a:gd name="connsiteY7" fmla="*/ 2634343 h 2634343"/>
              <a:gd name="connsiteX0" fmla="*/ 0 w 707571"/>
              <a:gd name="connsiteY0" fmla="*/ 32658 h 2634343"/>
              <a:gd name="connsiteX1" fmla="*/ 642257 w 707571"/>
              <a:gd name="connsiteY1" fmla="*/ 43543 h 2634343"/>
              <a:gd name="connsiteX2" fmla="*/ 631371 w 707571"/>
              <a:gd name="connsiteY2" fmla="*/ 0 h 2634343"/>
              <a:gd name="connsiteX3" fmla="*/ 522514 w 707571"/>
              <a:gd name="connsiteY3" fmla="*/ 54429 h 2634343"/>
              <a:gd name="connsiteX4" fmla="*/ 478971 w 707571"/>
              <a:gd name="connsiteY4" fmla="*/ 65315 h 2634343"/>
              <a:gd name="connsiteX5" fmla="*/ 707571 w 707571"/>
              <a:gd name="connsiteY5" fmla="*/ 544286 h 2634343"/>
              <a:gd name="connsiteX6" fmla="*/ 707571 w 707571"/>
              <a:gd name="connsiteY6" fmla="*/ 2634343 h 2634343"/>
              <a:gd name="connsiteX0" fmla="*/ 0 w 729343"/>
              <a:gd name="connsiteY0" fmla="*/ 0 h 2601685"/>
              <a:gd name="connsiteX1" fmla="*/ 642257 w 729343"/>
              <a:gd name="connsiteY1" fmla="*/ 10885 h 2601685"/>
              <a:gd name="connsiteX2" fmla="*/ 522514 w 729343"/>
              <a:gd name="connsiteY2" fmla="*/ 21771 h 2601685"/>
              <a:gd name="connsiteX3" fmla="*/ 478971 w 729343"/>
              <a:gd name="connsiteY3" fmla="*/ 32657 h 2601685"/>
              <a:gd name="connsiteX4" fmla="*/ 707571 w 729343"/>
              <a:gd name="connsiteY4" fmla="*/ 511628 h 2601685"/>
              <a:gd name="connsiteX5" fmla="*/ 707571 w 729343"/>
              <a:gd name="connsiteY5" fmla="*/ 2601685 h 2601685"/>
              <a:gd name="connsiteX0" fmla="*/ 0 w 729343"/>
              <a:gd name="connsiteY0" fmla="*/ 0 h 2601685"/>
              <a:gd name="connsiteX1" fmla="*/ 642257 w 729343"/>
              <a:gd name="connsiteY1" fmla="*/ 10885 h 2601685"/>
              <a:gd name="connsiteX2" fmla="*/ 522514 w 729343"/>
              <a:gd name="connsiteY2" fmla="*/ 21771 h 2601685"/>
              <a:gd name="connsiteX3" fmla="*/ 707571 w 729343"/>
              <a:gd name="connsiteY3" fmla="*/ 511628 h 2601685"/>
              <a:gd name="connsiteX4" fmla="*/ 707571 w 729343"/>
              <a:gd name="connsiteY4" fmla="*/ 2601685 h 2601685"/>
              <a:gd name="connsiteX0" fmla="*/ 0 w 760185"/>
              <a:gd name="connsiteY0" fmla="*/ 0 h 2601685"/>
              <a:gd name="connsiteX1" fmla="*/ 642257 w 760185"/>
              <a:gd name="connsiteY1" fmla="*/ 10885 h 2601685"/>
              <a:gd name="connsiteX2" fmla="*/ 707571 w 760185"/>
              <a:gd name="connsiteY2" fmla="*/ 511628 h 2601685"/>
              <a:gd name="connsiteX3" fmla="*/ 707571 w 760185"/>
              <a:gd name="connsiteY3" fmla="*/ 2601685 h 2601685"/>
              <a:gd name="connsiteX0" fmla="*/ 0 w 707571"/>
              <a:gd name="connsiteY0" fmla="*/ 0 h 2601685"/>
              <a:gd name="connsiteX1" fmla="*/ 642257 w 707571"/>
              <a:gd name="connsiteY1" fmla="*/ 10885 h 2601685"/>
              <a:gd name="connsiteX2" fmla="*/ 707571 w 707571"/>
              <a:gd name="connsiteY2" fmla="*/ 511628 h 2601685"/>
              <a:gd name="connsiteX3" fmla="*/ 707571 w 707571"/>
              <a:gd name="connsiteY3" fmla="*/ 2601685 h 2601685"/>
              <a:gd name="connsiteX0" fmla="*/ 0 w 785101"/>
              <a:gd name="connsiteY0" fmla="*/ 0 h 2601685"/>
              <a:gd name="connsiteX1" fmla="*/ 785101 w 785101"/>
              <a:gd name="connsiteY1" fmla="*/ 10885 h 2601685"/>
              <a:gd name="connsiteX2" fmla="*/ 707571 w 785101"/>
              <a:gd name="connsiteY2" fmla="*/ 511628 h 2601685"/>
              <a:gd name="connsiteX3" fmla="*/ 707571 w 785101"/>
              <a:gd name="connsiteY3" fmla="*/ 2601685 h 2601685"/>
              <a:gd name="connsiteX0" fmla="*/ 0 w 785101"/>
              <a:gd name="connsiteY0" fmla="*/ 0 h 2601685"/>
              <a:gd name="connsiteX1" fmla="*/ 785101 w 785101"/>
              <a:gd name="connsiteY1" fmla="*/ 10885 h 2601685"/>
              <a:gd name="connsiteX2" fmla="*/ 707571 w 785101"/>
              <a:gd name="connsiteY2" fmla="*/ 511628 h 2601685"/>
              <a:gd name="connsiteX3" fmla="*/ 707571 w 785101"/>
              <a:gd name="connsiteY3" fmla="*/ 2601685 h 2601685"/>
              <a:gd name="connsiteX0" fmla="*/ 0 w 707571"/>
              <a:gd name="connsiteY0" fmla="*/ 0 h 2601685"/>
              <a:gd name="connsiteX1" fmla="*/ 642193 w 707571"/>
              <a:gd name="connsiteY1" fmla="*/ 10885 h 2601685"/>
              <a:gd name="connsiteX2" fmla="*/ 707571 w 707571"/>
              <a:gd name="connsiteY2" fmla="*/ 511628 h 2601685"/>
              <a:gd name="connsiteX3" fmla="*/ 707571 w 707571"/>
              <a:gd name="connsiteY3" fmla="*/ 2601685 h 2601685"/>
              <a:gd name="connsiteX0" fmla="*/ 0 w 713599"/>
              <a:gd name="connsiteY0" fmla="*/ 0 h 2601685"/>
              <a:gd name="connsiteX1" fmla="*/ 713599 w 713599"/>
              <a:gd name="connsiteY1" fmla="*/ 10885 h 2601685"/>
              <a:gd name="connsiteX2" fmla="*/ 707571 w 713599"/>
              <a:gd name="connsiteY2" fmla="*/ 511628 h 2601685"/>
              <a:gd name="connsiteX3" fmla="*/ 707571 w 713599"/>
              <a:gd name="connsiteY3" fmla="*/ 2601685 h 2601685"/>
              <a:gd name="connsiteX0" fmla="*/ 0 w 713599"/>
              <a:gd name="connsiteY0" fmla="*/ 0 h 2601685"/>
              <a:gd name="connsiteX1" fmla="*/ 713599 w 713599"/>
              <a:gd name="connsiteY1" fmla="*/ 10885 h 2601685"/>
              <a:gd name="connsiteX2" fmla="*/ 707571 w 713599"/>
              <a:gd name="connsiteY2" fmla="*/ 511628 h 2601685"/>
              <a:gd name="connsiteX3" fmla="*/ 707571 w 713599"/>
              <a:gd name="connsiteY3" fmla="*/ 2601685 h 2601685"/>
              <a:gd name="connsiteX0" fmla="*/ 0 w 713599"/>
              <a:gd name="connsiteY0" fmla="*/ 0 h 2601685"/>
              <a:gd name="connsiteX1" fmla="*/ 713599 w 713599"/>
              <a:gd name="connsiteY1" fmla="*/ 10885 h 2601685"/>
              <a:gd name="connsiteX2" fmla="*/ 707571 w 713599"/>
              <a:gd name="connsiteY2" fmla="*/ 511628 h 2601685"/>
              <a:gd name="connsiteX3" fmla="*/ 707571 w 713599"/>
              <a:gd name="connsiteY3" fmla="*/ 2601685 h 2601685"/>
              <a:gd name="connsiteX0" fmla="*/ 0 w 713599"/>
              <a:gd name="connsiteY0" fmla="*/ 0 h 2601685"/>
              <a:gd name="connsiteX1" fmla="*/ 713599 w 713599"/>
              <a:gd name="connsiteY1" fmla="*/ 10885 h 2601685"/>
              <a:gd name="connsiteX2" fmla="*/ 707571 w 713599"/>
              <a:gd name="connsiteY2" fmla="*/ 511628 h 2601685"/>
              <a:gd name="connsiteX3" fmla="*/ 707571 w 713599"/>
              <a:gd name="connsiteY3" fmla="*/ 2601685 h 2601685"/>
              <a:gd name="connsiteX0" fmla="*/ 0 w 713599"/>
              <a:gd name="connsiteY0" fmla="*/ 0 h 2601685"/>
              <a:gd name="connsiteX1" fmla="*/ 713599 w 713599"/>
              <a:gd name="connsiteY1" fmla="*/ 10885 h 2601685"/>
              <a:gd name="connsiteX2" fmla="*/ 707571 w 713599"/>
              <a:gd name="connsiteY2" fmla="*/ 511628 h 2601685"/>
              <a:gd name="connsiteX3" fmla="*/ 707571 w 713599"/>
              <a:gd name="connsiteY3" fmla="*/ 2601685 h 2601685"/>
              <a:gd name="connsiteX0" fmla="*/ 0 w 713599"/>
              <a:gd name="connsiteY0" fmla="*/ 0 h 2601685"/>
              <a:gd name="connsiteX1" fmla="*/ 713599 w 713599"/>
              <a:gd name="connsiteY1" fmla="*/ 10885 h 2601685"/>
              <a:gd name="connsiteX2" fmla="*/ 707571 w 713599"/>
              <a:gd name="connsiteY2" fmla="*/ 511628 h 2601685"/>
              <a:gd name="connsiteX3" fmla="*/ 707571 w 713599"/>
              <a:gd name="connsiteY3" fmla="*/ 2601685 h 2601685"/>
              <a:gd name="connsiteX0" fmla="*/ 0 w 713599"/>
              <a:gd name="connsiteY0" fmla="*/ 0 h 2601685"/>
              <a:gd name="connsiteX1" fmla="*/ 713599 w 713599"/>
              <a:gd name="connsiteY1" fmla="*/ 10885 h 2601685"/>
              <a:gd name="connsiteX2" fmla="*/ 707571 w 713599"/>
              <a:gd name="connsiteY2" fmla="*/ 511628 h 2601685"/>
              <a:gd name="connsiteX3" fmla="*/ 707571 w 713599"/>
              <a:gd name="connsiteY3" fmla="*/ 2601685 h 2601685"/>
              <a:gd name="connsiteX0" fmla="*/ 0 w 713599"/>
              <a:gd name="connsiteY0" fmla="*/ 0 h 2601685"/>
              <a:gd name="connsiteX1" fmla="*/ 713599 w 713599"/>
              <a:gd name="connsiteY1" fmla="*/ 10885 h 2601685"/>
              <a:gd name="connsiteX2" fmla="*/ 707571 w 713599"/>
              <a:gd name="connsiteY2" fmla="*/ 511628 h 2601685"/>
              <a:gd name="connsiteX3" fmla="*/ 707571 w 713599"/>
              <a:gd name="connsiteY3" fmla="*/ 2601685 h 2601685"/>
              <a:gd name="connsiteX0" fmla="*/ 0 w 713599"/>
              <a:gd name="connsiteY0" fmla="*/ 0 h 2601685"/>
              <a:gd name="connsiteX1" fmla="*/ 0 w 713599"/>
              <a:gd name="connsiteY1" fmla="*/ 3628 h 2601685"/>
              <a:gd name="connsiteX2" fmla="*/ 713599 w 713599"/>
              <a:gd name="connsiteY2" fmla="*/ 10885 h 2601685"/>
              <a:gd name="connsiteX3" fmla="*/ 707571 w 713599"/>
              <a:gd name="connsiteY3" fmla="*/ 511628 h 2601685"/>
              <a:gd name="connsiteX4" fmla="*/ 707571 w 713599"/>
              <a:gd name="connsiteY4" fmla="*/ 2601685 h 2601685"/>
              <a:gd name="connsiteX0" fmla="*/ 0 w 713599"/>
              <a:gd name="connsiteY0" fmla="*/ 0 h 2601685"/>
              <a:gd name="connsiteX1" fmla="*/ 0 w 713599"/>
              <a:gd name="connsiteY1" fmla="*/ 3628 h 2601685"/>
              <a:gd name="connsiteX2" fmla="*/ 713599 w 713599"/>
              <a:gd name="connsiteY2" fmla="*/ 10885 h 2601685"/>
              <a:gd name="connsiteX3" fmla="*/ 707571 w 713599"/>
              <a:gd name="connsiteY3" fmla="*/ 511628 h 2601685"/>
              <a:gd name="connsiteX4" fmla="*/ 707571 w 713599"/>
              <a:gd name="connsiteY4" fmla="*/ 2601685 h 2601685"/>
              <a:gd name="connsiteX0" fmla="*/ 0 w 713599"/>
              <a:gd name="connsiteY0" fmla="*/ 0 h 2601685"/>
              <a:gd name="connsiteX1" fmla="*/ 0 w 713599"/>
              <a:gd name="connsiteY1" fmla="*/ 3628 h 2601685"/>
              <a:gd name="connsiteX2" fmla="*/ 713599 w 713599"/>
              <a:gd name="connsiteY2" fmla="*/ 10885 h 2601685"/>
              <a:gd name="connsiteX3" fmla="*/ 707571 w 713599"/>
              <a:gd name="connsiteY3" fmla="*/ 511628 h 2601685"/>
              <a:gd name="connsiteX4" fmla="*/ 707571 w 713599"/>
              <a:gd name="connsiteY4" fmla="*/ 2601685 h 2601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3599" h="2601685">
                <a:moveTo>
                  <a:pt x="0" y="0"/>
                </a:moveTo>
                <a:lnTo>
                  <a:pt x="0" y="3628"/>
                </a:lnTo>
                <a:cubicBezTo>
                  <a:pt x="237866" y="6047"/>
                  <a:pt x="485477" y="3704"/>
                  <a:pt x="713599" y="10885"/>
                </a:cubicBezTo>
                <a:cubicBezTo>
                  <a:pt x="712466" y="157721"/>
                  <a:pt x="709580" y="344714"/>
                  <a:pt x="707571" y="511628"/>
                </a:cubicBezTo>
                <a:lnTo>
                  <a:pt x="707571" y="2601685"/>
                </a:lnTo>
              </a:path>
            </a:pathLst>
          </a:custGeom>
          <a:ln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" name="Полилиния 58"/>
          <p:cNvSpPr/>
          <p:nvPr/>
        </p:nvSpPr>
        <p:spPr>
          <a:xfrm>
            <a:off x="2090706" y="3579844"/>
            <a:ext cx="713599" cy="2408282"/>
          </a:xfrm>
          <a:custGeom>
            <a:avLst/>
            <a:gdLst>
              <a:gd name="connsiteX0" fmla="*/ 0 w 707571"/>
              <a:gd name="connsiteY0" fmla="*/ 32658 h 2634343"/>
              <a:gd name="connsiteX1" fmla="*/ 642257 w 707571"/>
              <a:gd name="connsiteY1" fmla="*/ 43543 h 2634343"/>
              <a:gd name="connsiteX2" fmla="*/ 631371 w 707571"/>
              <a:gd name="connsiteY2" fmla="*/ 0 h 2634343"/>
              <a:gd name="connsiteX3" fmla="*/ 587828 w 707571"/>
              <a:gd name="connsiteY3" fmla="*/ 21772 h 2634343"/>
              <a:gd name="connsiteX4" fmla="*/ 522514 w 707571"/>
              <a:gd name="connsiteY4" fmla="*/ 54429 h 2634343"/>
              <a:gd name="connsiteX5" fmla="*/ 478971 w 707571"/>
              <a:gd name="connsiteY5" fmla="*/ 65315 h 2634343"/>
              <a:gd name="connsiteX6" fmla="*/ 707571 w 707571"/>
              <a:gd name="connsiteY6" fmla="*/ 544286 h 2634343"/>
              <a:gd name="connsiteX7" fmla="*/ 707571 w 707571"/>
              <a:gd name="connsiteY7" fmla="*/ 2634343 h 2634343"/>
              <a:gd name="connsiteX0" fmla="*/ 0 w 707571"/>
              <a:gd name="connsiteY0" fmla="*/ 32658 h 2634343"/>
              <a:gd name="connsiteX1" fmla="*/ 642257 w 707571"/>
              <a:gd name="connsiteY1" fmla="*/ 43543 h 2634343"/>
              <a:gd name="connsiteX2" fmla="*/ 631371 w 707571"/>
              <a:gd name="connsiteY2" fmla="*/ 0 h 2634343"/>
              <a:gd name="connsiteX3" fmla="*/ 522514 w 707571"/>
              <a:gd name="connsiteY3" fmla="*/ 54429 h 2634343"/>
              <a:gd name="connsiteX4" fmla="*/ 478971 w 707571"/>
              <a:gd name="connsiteY4" fmla="*/ 65315 h 2634343"/>
              <a:gd name="connsiteX5" fmla="*/ 707571 w 707571"/>
              <a:gd name="connsiteY5" fmla="*/ 544286 h 2634343"/>
              <a:gd name="connsiteX6" fmla="*/ 707571 w 707571"/>
              <a:gd name="connsiteY6" fmla="*/ 2634343 h 2634343"/>
              <a:gd name="connsiteX0" fmla="*/ 0 w 729343"/>
              <a:gd name="connsiteY0" fmla="*/ 0 h 2601685"/>
              <a:gd name="connsiteX1" fmla="*/ 642257 w 729343"/>
              <a:gd name="connsiteY1" fmla="*/ 10885 h 2601685"/>
              <a:gd name="connsiteX2" fmla="*/ 522514 w 729343"/>
              <a:gd name="connsiteY2" fmla="*/ 21771 h 2601685"/>
              <a:gd name="connsiteX3" fmla="*/ 478971 w 729343"/>
              <a:gd name="connsiteY3" fmla="*/ 32657 h 2601685"/>
              <a:gd name="connsiteX4" fmla="*/ 707571 w 729343"/>
              <a:gd name="connsiteY4" fmla="*/ 511628 h 2601685"/>
              <a:gd name="connsiteX5" fmla="*/ 707571 w 729343"/>
              <a:gd name="connsiteY5" fmla="*/ 2601685 h 2601685"/>
              <a:gd name="connsiteX0" fmla="*/ 0 w 729343"/>
              <a:gd name="connsiteY0" fmla="*/ 0 h 2601685"/>
              <a:gd name="connsiteX1" fmla="*/ 642257 w 729343"/>
              <a:gd name="connsiteY1" fmla="*/ 10885 h 2601685"/>
              <a:gd name="connsiteX2" fmla="*/ 522514 w 729343"/>
              <a:gd name="connsiteY2" fmla="*/ 21771 h 2601685"/>
              <a:gd name="connsiteX3" fmla="*/ 707571 w 729343"/>
              <a:gd name="connsiteY3" fmla="*/ 511628 h 2601685"/>
              <a:gd name="connsiteX4" fmla="*/ 707571 w 729343"/>
              <a:gd name="connsiteY4" fmla="*/ 2601685 h 2601685"/>
              <a:gd name="connsiteX0" fmla="*/ 0 w 760185"/>
              <a:gd name="connsiteY0" fmla="*/ 0 h 2601685"/>
              <a:gd name="connsiteX1" fmla="*/ 642257 w 760185"/>
              <a:gd name="connsiteY1" fmla="*/ 10885 h 2601685"/>
              <a:gd name="connsiteX2" fmla="*/ 707571 w 760185"/>
              <a:gd name="connsiteY2" fmla="*/ 511628 h 2601685"/>
              <a:gd name="connsiteX3" fmla="*/ 707571 w 760185"/>
              <a:gd name="connsiteY3" fmla="*/ 2601685 h 2601685"/>
              <a:gd name="connsiteX0" fmla="*/ 0 w 707571"/>
              <a:gd name="connsiteY0" fmla="*/ 0 h 2601685"/>
              <a:gd name="connsiteX1" fmla="*/ 642257 w 707571"/>
              <a:gd name="connsiteY1" fmla="*/ 10885 h 2601685"/>
              <a:gd name="connsiteX2" fmla="*/ 707571 w 707571"/>
              <a:gd name="connsiteY2" fmla="*/ 511628 h 2601685"/>
              <a:gd name="connsiteX3" fmla="*/ 707571 w 707571"/>
              <a:gd name="connsiteY3" fmla="*/ 2601685 h 2601685"/>
              <a:gd name="connsiteX0" fmla="*/ 0 w 785101"/>
              <a:gd name="connsiteY0" fmla="*/ 0 h 2601685"/>
              <a:gd name="connsiteX1" fmla="*/ 785101 w 785101"/>
              <a:gd name="connsiteY1" fmla="*/ 10885 h 2601685"/>
              <a:gd name="connsiteX2" fmla="*/ 707571 w 785101"/>
              <a:gd name="connsiteY2" fmla="*/ 511628 h 2601685"/>
              <a:gd name="connsiteX3" fmla="*/ 707571 w 785101"/>
              <a:gd name="connsiteY3" fmla="*/ 2601685 h 2601685"/>
              <a:gd name="connsiteX0" fmla="*/ 0 w 785101"/>
              <a:gd name="connsiteY0" fmla="*/ 0 h 2601685"/>
              <a:gd name="connsiteX1" fmla="*/ 785101 w 785101"/>
              <a:gd name="connsiteY1" fmla="*/ 10885 h 2601685"/>
              <a:gd name="connsiteX2" fmla="*/ 707571 w 785101"/>
              <a:gd name="connsiteY2" fmla="*/ 511628 h 2601685"/>
              <a:gd name="connsiteX3" fmla="*/ 707571 w 785101"/>
              <a:gd name="connsiteY3" fmla="*/ 2601685 h 2601685"/>
              <a:gd name="connsiteX0" fmla="*/ 0 w 707571"/>
              <a:gd name="connsiteY0" fmla="*/ 0 h 2601685"/>
              <a:gd name="connsiteX1" fmla="*/ 642193 w 707571"/>
              <a:gd name="connsiteY1" fmla="*/ 10885 h 2601685"/>
              <a:gd name="connsiteX2" fmla="*/ 707571 w 707571"/>
              <a:gd name="connsiteY2" fmla="*/ 511628 h 2601685"/>
              <a:gd name="connsiteX3" fmla="*/ 707571 w 707571"/>
              <a:gd name="connsiteY3" fmla="*/ 2601685 h 2601685"/>
              <a:gd name="connsiteX0" fmla="*/ 0 w 713599"/>
              <a:gd name="connsiteY0" fmla="*/ 0 h 2601685"/>
              <a:gd name="connsiteX1" fmla="*/ 713599 w 713599"/>
              <a:gd name="connsiteY1" fmla="*/ 10885 h 2601685"/>
              <a:gd name="connsiteX2" fmla="*/ 707571 w 713599"/>
              <a:gd name="connsiteY2" fmla="*/ 511628 h 2601685"/>
              <a:gd name="connsiteX3" fmla="*/ 707571 w 713599"/>
              <a:gd name="connsiteY3" fmla="*/ 2601685 h 2601685"/>
              <a:gd name="connsiteX0" fmla="*/ 0 w 713599"/>
              <a:gd name="connsiteY0" fmla="*/ 0 h 2601685"/>
              <a:gd name="connsiteX1" fmla="*/ 713599 w 713599"/>
              <a:gd name="connsiteY1" fmla="*/ 10885 h 2601685"/>
              <a:gd name="connsiteX2" fmla="*/ 707571 w 713599"/>
              <a:gd name="connsiteY2" fmla="*/ 511628 h 2601685"/>
              <a:gd name="connsiteX3" fmla="*/ 707571 w 713599"/>
              <a:gd name="connsiteY3" fmla="*/ 2601685 h 2601685"/>
              <a:gd name="connsiteX0" fmla="*/ 0 w 713599"/>
              <a:gd name="connsiteY0" fmla="*/ 0 h 2601685"/>
              <a:gd name="connsiteX1" fmla="*/ 713599 w 713599"/>
              <a:gd name="connsiteY1" fmla="*/ 10885 h 2601685"/>
              <a:gd name="connsiteX2" fmla="*/ 707571 w 713599"/>
              <a:gd name="connsiteY2" fmla="*/ 511628 h 2601685"/>
              <a:gd name="connsiteX3" fmla="*/ 707571 w 713599"/>
              <a:gd name="connsiteY3" fmla="*/ 2601685 h 2601685"/>
              <a:gd name="connsiteX0" fmla="*/ 0 w 713599"/>
              <a:gd name="connsiteY0" fmla="*/ 0 h 2601685"/>
              <a:gd name="connsiteX1" fmla="*/ 713599 w 713599"/>
              <a:gd name="connsiteY1" fmla="*/ 10885 h 2601685"/>
              <a:gd name="connsiteX2" fmla="*/ 707571 w 713599"/>
              <a:gd name="connsiteY2" fmla="*/ 511628 h 2601685"/>
              <a:gd name="connsiteX3" fmla="*/ 707571 w 713599"/>
              <a:gd name="connsiteY3" fmla="*/ 2601685 h 2601685"/>
              <a:gd name="connsiteX0" fmla="*/ 0 w 713599"/>
              <a:gd name="connsiteY0" fmla="*/ 0 h 2601685"/>
              <a:gd name="connsiteX1" fmla="*/ 713599 w 713599"/>
              <a:gd name="connsiteY1" fmla="*/ 10885 h 2601685"/>
              <a:gd name="connsiteX2" fmla="*/ 707571 w 713599"/>
              <a:gd name="connsiteY2" fmla="*/ 511628 h 2601685"/>
              <a:gd name="connsiteX3" fmla="*/ 707571 w 713599"/>
              <a:gd name="connsiteY3" fmla="*/ 2601685 h 2601685"/>
              <a:gd name="connsiteX0" fmla="*/ 0 w 713599"/>
              <a:gd name="connsiteY0" fmla="*/ 0 h 2601685"/>
              <a:gd name="connsiteX1" fmla="*/ 713599 w 713599"/>
              <a:gd name="connsiteY1" fmla="*/ 10885 h 2601685"/>
              <a:gd name="connsiteX2" fmla="*/ 707571 w 713599"/>
              <a:gd name="connsiteY2" fmla="*/ 511628 h 2601685"/>
              <a:gd name="connsiteX3" fmla="*/ 707571 w 713599"/>
              <a:gd name="connsiteY3" fmla="*/ 2601685 h 2601685"/>
              <a:gd name="connsiteX0" fmla="*/ 0 w 713599"/>
              <a:gd name="connsiteY0" fmla="*/ 0 h 2601685"/>
              <a:gd name="connsiteX1" fmla="*/ 713599 w 713599"/>
              <a:gd name="connsiteY1" fmla="*/ 10885 h 2601685"/>
              <a:gd name="connsiteX2" fmla="*/ 707571 w 713599"/>
              <a:gd name="connsiteY2" fmla="*/ 511628 h 2601685"/>
              <a:gd name="connsiteX3" fmla="*/ 707571 w 713599"/>
              <a:gd name="connsiteY3" fmla="*/ 2601685 h 2601685"/>
              <a:gd name="connsiteX0" fmla="*/ 0 w 713599"/>
              <a:gd name="connsiteY0" fmla="*/ 0 h 2601685"/>
              <a:gd name="connsiteX1" fmla="*/ 713599 w 713599"/>
              <a:gd name="connsiteY1" fmla="*/ 10885 h 2601685"/>
              <a:gd name="connsiteX2" fmla="*/ 707571 w 713599"/>
              <a:gd name="connsiteY2" fmla="*/ 511628 h 2601685"/>
              <a:gd name="connsiteX3" fmla="*/ 707571 w 713599"/>
              <a:gd name="connsiteY3" fmla="*/ 2601685 h 2601685"/>
              <a:gd name="connsiteX0" fmla="*/ 0 w 713599"/>
              <a:gd name="connsiteY0" fmla="*/ 0 h 2601685"/>
              <a:gd name="connsiteX1" fmla="*/ 0 w 713599"/>
              <a:gd name="connsiteY1" fmla="*/ 3628 h 2601685"/>
              <a:gd name="connsiteX2" fmla="*/ 713599 w 713599"/>
              <a:gd name="connsiteY2" fmla="*/ 10885 h 2601685"/>
              <a:gd name="connsiteX3" fmla="*/ 707571 w 713599"/>
              <a:gd name="connsiteY3" fmla="*/ 511628 h 2601685"/>
              <a:gd name="connsiteX4" fmla="*/ 707571 w 713599"/>
              <a:gd name="connsiteY4" fmla="*/ 2601685 h 2601685"/>
              <a:gd name="connsiteX0" fmla="*/ 0 w 713599"/>
              <a:gd name="connsiteY0" fmla="*/ 0 h 2601685"/>
              <a:gd name="connsiteX1" fmla="*/ 0 w 713599"/>
              <a:gd name="connsiteY1" fmla="*/ 3628 h 2601685"/>
              <a:gd name="connsiteX2" fmla="*/ 713599 w 713599"/>
              <a:gd name="connsiteY2" fmla="*/ 10885 h 2601685"/>
              <a:gd name="connsiteX3" fmla="*/ 707571 w 713599"/>
              <a:gd name="connsiteY3" fmla="*/ 511628 h 2601685"/>
              <a:gd name="connsiteX4" fmla="*/ 707571 w 713599"/>
              <a:gd name="connsiteY4" fmla="*/ 2601685 h 2601685"/>
              <a:gd name="connsiteX0" fmla="*/ 0 w 713599"/>
              <a:gd name="connsiteY0" fmla="*/ 0 h 2601685"/>
              <a:gd name="connsiteX1" fmla="*/ 0 w 713599"/>
              <a:gd name="connsiteY1" fmla="*/ 3628 h 2601685"/>
              <a:gd name="connsiteX2" fmla="*/ 713599 w 713599"/>
              <a:gd name="connsiteY2" fmla="*/ 10885 h 2601685"/>
              <a:gd name="connsiteX3" fmla="*/ 707571 w 713599"/>
              <a:gd name="connsiteY3" fmla="*/ 511628 h 2601685"/>
              <a:gd name="connsiteX4" fmla="*/ 707571 w 713599"/>
              <a:gd name="connsiteY4" fmla="*/ 2601685 h 2601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3599" h="2601685">
                <a:moveTo>
                  <a:pt x="0" y="0"/>
                </a:moveTo>
                <a:lnTo>
                  <a:pt x="0" y="3628"/>
                </a:lnTo>
                <a:cubicBezTo>
                  <a:pt x="237866" y="6047"/>
                  <a:pt x="485477" y="3704"/>
                  <a:pt x="713599" y="10885"/>
                </a:cubicBezTo>
                <a:cubicBezTo>
                  <a:pt x="712466" y="157721"/>
                  <a:pt x="709580" y="344714"/>
                  <a:pt x="707571" y="511628"/>
                </a:cubicBezTo>
                <a:lnTo>
                  <a:pt x="707571" y="2601685"/>
                </a:lnTo>
              </a:path>
            </a:pathLst>
          </a:custGeom>
          <a:ln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0" name="Picture 4" descr="C:\Users\user\Downloads\coins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0255" y="2963411"/>
            <a:ext cx="361404" cy="3614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4" descr="C:\Users\user\Downloads\coins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3236" y="2956629"/>
            <a:ext cx="361404" cy="3614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4" descr="C:\Users\user\Downloads\coins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8692" y="2943519"/>
            <a:ext cx="361404" cy="3614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5124D0-E098-4E81-9395-C7688EF7B566}" type="slidenum">
              <a:rPr lang="ru-RU" smtClean="0"/>
              <a:pPr/>
              <a:t>6</a:t>
            </a:fld>
            <a:endParaRPr lang="ru-RU" dirty="0"/>
          </a:p>
        </p:txBody>
      </p:sp>
      <p:sp>
        <p:nvSpPr>
          <p:cNvPr id="63" name="Заголовок 1"/>
          <p:cNvSpPr txBox="1">
            <a:spLocks/>
          </p:cNvSpPr>
          <p:nvPr/>
        </p:nvSpPr>
        <p:spPr>
          <a:xfrm>
            <a:off x="302849" y="1597412"/>
            <a:ext cx="8733907" cy="9269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tabLst>
                <a:tab pos="266700" algn="l"/>
                <a:tab pos="355600" algn="l"/>
              </a:tabLst>
            </a:pPr>
            <a:r>
              <a:rPr lang="ru-RU" sz="1200" dirty="0" smtClean="0">
                <a:cs typeface="Arial" pitchFamily="34" charset="0"/>
              </a:rPr>
              <a:t> </a:t>
            </a:r>
            <a:r>
              <a:rPr lang="ru-RU" sz="1200" b="1" i="1" dirty="0" smtClean="0">
                <a:cs typeface="Arial" pitchFamily="34" charset="0"/>
              </a:rPr>
              <a:t>Заполнение </a:t>
            </a:r>
            <a:r>
              <a:rPr lang="ru-RU" sz="1200" b="1" i="1" dirty="0">
                <a:cs typeface="Arial" pitchFamily="34" charset="0"/>
              </a:rPr>
              <a:t>налогоплательщиком при расчете с поставщиками двух платежных поручений: </a:t>
            </a:r>
            <a:endParaRPr lang="ru-RU" sz="1200" b="1" i="1" dirty="0" smtClean="0">
              <a:cs typeface="Arial" pitchFamily="34" charset="0"/>
            </a:endParaRPr>
          </a:p>
          <a:p>
            <a:pPr marL="171450" indent="-171450">
              <a:buFont typeface="Wingdings" pitchFamily="2" charset="2"/>
              <a:buChar char="ü"/>
              <a:tabLst>
                <a:tab pos="266700" algn="l"/>
                <a:tab pos="355600" algn="l"/>
              </a:tabLst>
            </a:pPr>
            <a:r>
              <a:rPr lang="ru-RU" sz="1200" b="1" i="1" dirty="0" smtClean="0">
                <a:cs typeface="Arial" pitchFamily="34" charset="0"/>
              </a:rPr>
              <a:t>на </a:t>
            </a:r>
            <a:r>
              <a:rPr lang="ru-RU" sz="1200" b="1" i="1" dirty="0">
                <a:cs typeface="Arial" pitchFamily="34" charset="0"/>
              </a:rPr>
              <a:t>оплату </a:t>
            </a:r>
            <a:r>
              <a:rPr lang="ru-RU" sz="1200" b="1" i="1" dirty="0" smtClean="0">
                <a:cs typeface="Arial" pitchFamily="34" charset="0"/>
              </a:rPr>
              <a:t>стоимости товара                       </a:t>
            </a:r>
          </a:p>
          <a:p>
            <a:pPr marL="171450" indent="-171450">
              <a:buFont typeface="Wingdings" pitchFamily="2" charset="2"/>
              <a:buChar char="ü"/>
              <a:tabLst>
                <a:tab pos="266700" algn="l"/>
                <a:tab pos="355600" algn="l"/>
              </a:tabLst>
            </a:pPr>
            <a:r>
              <a:rPr lang="ru-RU" sz="1200" b="1" i="1" dirty="0" smtClean="0">
                <a:cs typeface="Arial" pitchFamily="34" charset="0"/>
              </a:rPr>
              <a:t>на </a:t>
            </a:r>
            <a:r>
              <a:rPr lang="ru-RU" sz="1200" b="1" i="1" dirty="0">
                <a:cs typeface="Arial" pitchFamily="34" charset="0"/>
              </a:rPr>
              <a:t>перечисление НДС </a:t>
            </a:r>
          </a:p>
          <a:p>
            <a:pPr indent="266700" algn="just">
              <a:tabLst>
                <a:tab pos="266700" algn="l"/>
                <a:tab pos="355600" algn="l"/>
              </a:tabLst>
            </a:pPr>
            <a:r>
              <a:rPr lang="ru-RU" sz="1200" dirty="0">
                <a:cs typeface="Arial" pitchFamily="34" charset="0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3512372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Скругленный прямоугольник 26"/>
          <p:cNvSpPr/>
          <p:nvPr/>
        </p:nvSpPr>
        <p:spPr>
          <a:xfrm>
            <a:off x="395537" y="1412778"/>
            <a:ext cx="1512168" cy="1704570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 b="1" dirty="0" smtClean="0">
              <a:solidFill>
                <a:schemeClr val="tx1"/>
              </a:solidFill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chemeClr val="tx1"/>
                </a:solidFill>
                <a:cs typeface="Arial" pitchFamily="34" charset="0"/>
              </a:rPr>
              <a:t>Банк </a:t>
            </a:r>
            <a:r>
              <a:rPr lang="en-US" sz="2000" b="1" dirty="0" smtClean="0">
                <a:solidFill>
                  <a:schemeClr val="tx1"/>
                </a:solidFill>
                <a:cs typeface="Arial" pitchFamily="34" charset="0"/>
              </a:rPr>
              <a:t>II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chemeClr val="tx1"/>
                </a:solidFill>
                <a:cs typeface="Arial" pitchFamily="34" charset="0"/>
              </a:rPr>
              <a:t>уровня</a:t>
            </a:r>
            <a:endParaRPr lang="ru-RU" sz="2000" b="1" dirty="0">
              <a:solidFill>
                <a:schemeClr val="tx1"/>
              </a:solidFill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7380312" y="1412776"/>
            <a:ext cx="1584176" cy="1704571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КГД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МФ РК</a:t>
            </a:r>
            <a:endParaRPr 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9" name="Стрелка вправо 28"/>
          <p:cNvSpPr/>
          <p:nvPr/>
        </p:nvSpPr>
        <p:spPr>
          <a:xfrm>
            <a:off x="2087776" y="2038060"/>
            <a:ext cx="5076512" cy="958892"/>
          </a:xfrm>
          <a:prstGeom prst="rightArrow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  <a:cs typeface="Arial" panose="020B0604020202020204" pitchFamily="34" charset="0"/>
              </a:rPr>
              <a:t>Шлюз электронного Правительства </a:t>
            </a:r>
            <a:endParaRPr lang="ru-RU" sz="1600" b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1835696" y="1692097"/>
            <a:ext cx="561662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i="1" dirty="0" smtClean="0">
                <a:cs typeface="Arial" panose="020B0604020202020204" pitchFamily="34" charset="0"/>
              </a:rPr>
              <a:t>Онлайн информация об </a:t>
            </a:r>
            <a:r>
              <a:rPr lang="ru-RU" sz="1600" i="1" dirty="0">
                <a:cs typeface="Arial" panose="020B0604020202020204" pitchFamily="34" charset="0"/>
              </a:rPr>
              <a:t>открытии, </a:t>
            </a:r>
            <a:r>
              <a:rPr lang="ru-RU" sz="1600" i="1" dirty="0" smtClean="0">
                <a:cs typeface="Arial" panose="020B0604020202020204" pitchFamily="34" charset="0"/>
              </a:rPr>
              <a:t>ведении, закрытии </a:t>
            </a:r>
            <a:r>
              <a:rPr lang="ru-RU" sz="1600" i="1" dirty="0">
                <a:cs typeface="Arial" panose="020B0604020202020204" pitchFamily="34" charset="0"/>
              </a:rPr>
              <a:t>контрольных счетов </a:t>
            </a:r>
            <a:r>
              <a:rPr lang="ru-RU" sz="1600" i="1" dirty="0" smtClean="0">
                <a:cs typeface="Arial" panose="020B0604020202020204" pitchFamily="34" charset="0"/>
              </a:rPr>
              <a:t>НДС</a:t>
            </a:r>
            <a:endParaRPr lang="ru-RU" sz="1600" i="1" dirty="0">
              <a:cs typeface="Arial" panose="020B0604020202020204" pitchFamily="34" charset="0"/>
            </a:endParaRPr>
          </a:p>
        </p:txBody>
      </p:sp>
      <p:pic>
        <p:nvPicPr>
          <p:cNvPr id="31" name="Picture 9" descr="C:\Users\user\Downloads\20b977f55a06df8734c27777c6d5ef1f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852" b="98889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4818" y="1188026"/>
            <a:ext cx="1755164" cy="877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C:\Users\user\Downloads\bank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096" y="1188026"/>
            <a:ext cx="765050" cy="765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818008" y="3576750"/>
            <a:ext cx="4114032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en-US" b="1" dirty="0" smtClean="0">
              <a:latin typeface="Arial" panose="020B0604020202020204" pitchFamily="34" charset="0"/>
              <a:cs typeface="Arial" pitchFamily="34" charset="0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>
              <a:latin typeface="Arial" panose="020B0604020202020204" pitchFamily="34" charset="0"/>
              <a:cs typeface="Arial" pitchFamily="34" charset="0"/>
            </a:endParaRPr>
          </a:p>
          <a:p>
            <a:pPr marL="285750" indent="-285750">
              <a:buFontTx/>
              <a:buChar char="-"/>
              <a:defRPr/>
            </a:pPr>
            <a:r>
              <a:rPr lang="ru-RU" sz="1600" dirty="0">
                <a:latin typeface="Arial" pitchFamily="34" charset="0"/>
                <a:cs typeface="Arial" pitchFamily="34" charset="0"/>
              </a:rPr>
              <a:t>номер, дата открытия и закрытия контрольного счета НДС</a:t>
            </a:r>
          </a:p>
          <a:p>
            <a:pPr marL="285750" indent="-285750">
              <a:buFontTx/>
              <a:buChar char="-"/>
              <a:defRPr/>
            </a:pPr>
            <a:r>
              <a:rPr lang="ru-RU" sz="1600" dirty="0">
                <a:latin typeface="Arial" pitchFamily="34" charset="0"/>
                <a:cs typeface="Arial" pitchFamily="34" charset="0"/>
              </a:rPr>
              <a:t>состояние счета (открытый/закрытый)</a:t>
            </a:r>
          </a:p>
          <a:p>
            <a:pPr marL="285750" indent="-285750">
              <a:buFontTx/>
              <a:buChar char="-"/>
              <a:defRPr/>
            </a:pPr>
            <a:r>
              <a:rPr lang="ru-RU" sz="1600" dirty="0">
                <a:latin typeface="Arial" pitchFamily="34" charset="0"/>
                <a:cs typeface="Arial" pitchFamily="34" charset="0"/>
              </a:rPr>
              <a:t>номер и дата платежного документа</a:t>
            </a:r>
          </a:p>
          <a:p>
            <a:pPr marL="285750" indent="-285750">
              <a:buFontTx/>
              <a:buChar char="-"/>
              <a:defRPr/>
            </a:pPr>
            <a:r>
              <a:rPr lang="ru-RU" sz="1600" dirty="0">
                <a:latin typeface="Arial" pitchFamily="34" charset="0"/>
                <a:cs typeface="Arial" pitchFamily="34" charset="0"/>
              </a:rPr>
              <a:t>БИК банка</a:t>
            </a:r>
          </a:p>
          <a:p>
            <a:pPr marL="285750" indent="-285750">
              <a:buFontTx/>
              <a:buChar char="-"/>
              <a:defRPr/>
            </a:pPr>
            <a:r>
              <a:rPr lang="ru-RU" sz="1600" dirty="0">
                <a:latin typeface="Arial" pitchFamily="34" charset="0"/>
                <a:cs typeface="Arial" pitchFamily="34" charset="0"/>
              </a:rPr>
              <a:t>БИН/ИИН, наименование отправителя денег</a:t>
            </a:r>
          </a:p>
          <a:p>
            <a:pPr marL="285750" indent="-285750">
              <a:buFontTx/>
              <a:buChar char="-"/>
              <a:defRPr/>
            </a:pPr>
            <a:r>
              <a:rPr lang="ru-RU" sz="1600" dirty="0">
                <a:latin typeface="Arial" pitchFamily="34" charset="0"/>
                <a:cs typeface="Arial" pitchFamily="34" charset="0"/>
              </a:rPr>
              <a:t>код назначения платежа</a:t>
            </a:r>
          </a:p>
          <a:p>
            <a:pPr marL="285750" indent="-285750">
              <a:buFontTx/>
              <a:buChar char="-"/>
              <a:defRPr/>
            </a:pPr>
            <a:r>
              <a:rPr lang="ru-RU" sz="1600" dirty="0">
                <a:latin typeface="Arial" pitchFamily="34" charset="0"/>
                <a:cs typeface="Arial" pitchFamily="34" charset="0"/>
              </a:rPr>
              <a:t>проводка по дебету счета</a:t>
            </a:r>
            <a:endParaRPr lang="ru-RU" sz="1600" dirty="0"/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endParaRPr lang="ru-RU" sz="1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4788024" y="3579400"/>
            <a:ext cx="4114032" cy="23698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en-US" b="1" dirty="0" smtClean="0">
              <a:latin typeface="Arial" panose="020B0604020202020204" pitchFamily="34" charset="0"/>
              <a:cs typeface="Arial" pitchFamily="34" charset="0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>
              <a:latin typeface="Arial" panose="020B0604020202020204" pitchFamily="34" charset="0"/>
              <a:cs typeface="Arial" pitchFamily="34" charset="0"/>
            </a:endParaRPr>
          </a:p>
          <a:p>
            <a:pPr marL="285750" indent="-20638">
              <a:buFontTx/>
              <a:buChar char="-"/>
              <a:defRPr/>
            </a:pPr>
            <a:r>
              <a:rPr lang="en-US" sz="1600" dirty="0" smtClean="0">
                <a:latin typeface="Arial" pitchFamily="34" charset="0"/>
                <a:cs typeface="Arial" pitchFamily="34" charset="0"/>
              </a:rPr>
              <a:t>   </a:t>
            </a:r>
            <a:r>
              <a:rPr lang="ru-RU" sz="1600" dirty="0" smtClean="0">
                <a:latin typeface="Arial" pitchFamily="34" charset="0"/>
                <a:cs typeface="Arial" pitchFamily="34" charset="0"/>
              </a:rPr>
              <a:t>проводка 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по кредиту счета</a:t>
            </a:r>
          </a:p>
          <a:p>
            <a:pPr marL="285750" indent="-20638">
              <a:buFontTx/>
              <a:buChar char="-"/>
              <a:defRPr/>
            </a:pPr>
            <a:r>
              <a:rPr lang="en-US" sz="1600" dirty="0" smtClean="0">
                <a:latin typeface="Arial" pitchFamily="34" charset="0"/>
                <a:cs typeface="Arial" pitchFamily="34" charset="0"/>
              </a:rPr>
              <a:t>   </a:t>
            </a:r>
            <a:r>
              <a:rPr lang="ru-RU" sz="1600" dirty="0" smtClean="0">
                <a:latin typeface="Arial" pitchFamily="34" charset="0"/>
                <a:cs typeface="Arial" pitchFamily="34" charset="0"/>
              </a:rPr>
              <a:t>дата 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проведения проводки</a:t>
            </a:r>
          </a:p>
          <a:p>
            <a:pPr marL="285750" indent="-20638">
              <a:buFontTx/>
              <a:buChar char="-"/>
              <a:defRPr/>
            </a:pPr>
            <a:r>
              <a:rPr lang="en-US" sz="1600" dirty="0" smtClean="0">
                <a:latin typeface="Arial" pitchFamily="34" charset="0"/>
                <a:cs typeface="Arial" pitchFamily="34" charset="0"/>
              </a:rPr>
              <a:t>   </a:t>
            </a:r>
            <a:r>
              <a:rPr lang="ru-RU" sz="1600" dirty="0" smtClean="0">
                <a:latin typeface="Arial" pitchFamily="34" charset="0"/>
                <a:cs typeface="Arial" pitchFamily="34" charset="0"/>
              </a:rPr>
              <a:t>валюта 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счета (тенге)</a:t>
            </a:r>
          </a:p>
          <a:p>
            <a:pPr marL="285750" indent="-20638">
              <a:buFontTx/>
              <a:buChar char="-"/>
              <a:defRPr/>
            </a:pPr>
            <a:r>
              <a:rPr lang="en-US" sz="1600" dirty="0" smtClean="0">
                <a:latin typeface="Arial" pitchFamily="34" charset="0"/>
                <a:cs typeface="Arial" pitchFamily="34" charset="0"/>
              </a:rPr>
              <a:t>   </a:t>
            </a:r>
            <a:r>
              <a:rPr lang="ru-RU" sz="1600" dirty="0" smtClean="0">
                <a:latin typeface="Arial" pitchFamily="34" charset="0"/>
                <a:cs typeface="Arial" pitchFamily="34" charset="0"/>
              </a:rPr>
              <a:t>сумма</a:t>
            </a:r>
            <a:endParaRPr lang="ru-RU" sz="1600" dirty="0">
              <a:latin typeface="Arial" pitchFamily="34" charset="0"/>
              <a:cs typeface="Arial" pitchFamily="34" charset="0"/>
            </a:endParaRPr>
          </a:p>
          <a:p>
            <a:pPr marL="285750" indent="-20638">
              <a:buFontTx/>
              <a:buChar char="-"/>
              <a:defRPr/>
            </a:pPr>
            <a:r>
              <a:rPr lang="en-US" sz="1600" dirty="0" smtClean="0">
                <a:latin typeface="Arial" pitchFamily="34" charset="0"/>
                <a:cs typeface="Arial" pitchFamily="34" charset="0"/>
              </a:rPr>
              <a:t>   </a:t>
            </a:r>
            <a:r>
              <a:rPr lang="ru-RU" sz="1600" dirty="0" smtClean="0">
                <a:latin typeface="Arial" pitchFamily="34" charset="0"/>
                <a:cs typeface="Arial" pitchFamily="34" charset="0"/>
              </a:rPr>
              <a:t>сальдо</a:t>
            </a:r>
            <a:endParaRPr lang="ru-RU" sz="1600" dirty="0">
              <a:latin typeface="Arial" pitchFamily="34" charset="0"/>
              <a:cs typeface="Arial" pitchFamily="34" charset="0"/>
            </a:endParaRPr>
          </a:p>
          <a:p>
            <a:pPr marL="285750" indent="-20638">
              <a:buFontTx/>
              <a:buChar char="-"/>
              <a:defRPr/>
            </a:pPr>
            <a:r>
              <a:rPr lang="en-US" sz="1600" dirty="0" smtClean="0">
                <a:latin typeface="Arial" pitchFamily="34" charset="0"/>
                <a:cs typeface="Arial" pitchFamily="34" charset="0"/>
              </a:rPr>
              <a:t>   </a:t>
            </a:r>
            <a:r>
              <a:rPr lang="ru-RU" sz="1600" dirty="0" smtClean="0">
                <a:latin typeface="Arial" pitchFamily="34" charset="0"/>
                <a:cs typeface="Arial" pitchFamily="34" charset="0"/>
              </a:rPr>
              <a:t>назначение 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платежа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endParaRPr lang="ru-RU" sz="1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690701" y="3635732"/>
            <a:ext cx="17625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itchFamily="34" charset="0"/>
              </a:rPr>
              <a:t>Информация:</a:t>
            </a:r>
            <a:endParaRPr lang="ru-RU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5124D0-E098-4E81-9395-C7688EF7B566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19" name="Прямоугольник 18"/>
          <p:cNvSpPr/>
          <p:nvPr/>
        </p:nvSpPr>
        <p:spPr>
          <a:xfrm>
            <a:off x="-22034" y="0"/>
            <a:ext cx="9166034" cy="759125"/>
          </a:xfrm>
          <a:prstGeom prst="rect">
            <a:avLst/>
          </a:prstGeom>
          <a:gradFill flip="none" rotWithShape="1">
            <a:gsLst>
              <a:gs pos="0">
                <a:srgbClr val="002060"/>
              </a:gs>
              <a:gs pos="100000">
                <a:srgbClr val="0036A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11017" y="21115"/>
            <a:ext cx="91440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ВЗАИМОДЕЙСТВИЕ БАНКОВ С КГД МФ РК ПО КОНТРОЛЬНЫМ СЧЕТАМ НДС</a:t>
            </a:r>
            <a:endParaRPr lang="ru-RU" sz="2000" b="1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6538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8</a:t>
            </a:fld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4294967295"/>
          </p:nvPr>
        </p:nvSpPr>
        <p:spPr>
          <a:xfrm>
            <a:off x="914400" y="1484313"/>
            <a:ext cx="8229600" cy="4448175"/>
          </a:xfrm>
        </p:spPr>
        <p:txBody>
          <a:bodyPr>
            <a:normAutofit fontScale="85000" lnSpcReduction="20000"/>
          </a:bodyPr>
          <a:lstStyle/>
          <a:p>
            <a:pPr marL="0" indent="266700" algn="just">
              <a:lnSpc>
                <a:spcPct val="120000"/>
              </a:lnSpc>
              <a:spcBef>
                <a:spcPct val="0"/>
              </a:spcBef>
              <a:buNone/>
            </a:pPr>
            <a:r>
              <a:rPr lang="ru-RU" sz="2800" dirty="0" smtClean="0">
                <a:latin typeface="Arial Narrow" pitchFamily="34" charset="0"/>
              </a:rPr>
              <a:t>Возврат превышения НДС производится на основании:</a:t>
            </a:r>
          </a:p>
          <a:p>
            <a:pPr marL="0" indent="266700" algn="just">
              <a:lnSpc>
                <a:spcPct val="120000"/>
              </a:lnSpc>
              <a:spcBef>
                <a:spcPct val="0"/>
              </a:spcBef>
              <a:buNone/>
            </a:pPr>
            <a:r>
              <a:rPr lang="ru-RU" sz="2800" dirty="0" smtClean="0">
                <a:latin typeface="Arial Narrow" pitchFamily="34" charset="0"/>
              </a:rPr>
              <a:t/>
            </a:r>
            <a:br>
              <a:rPr lang="ru-RU" sz="2800" dirty="0" smtClean="0">
                <a:latin typeface="Arial Narrow" pitchFamily="34" charset="0"/>
              </a:rPr>
            </a:br>
            <a:r>
              <a:rPr lang="en-US" sz="2800" b="1" dirty="0" smtClean="0">
                <a:latin typeface="Arial Narrow" pitchFamily="34" charset="0"/>
              </a:rPr>
              <a:t>I</a:t>
            </a:r>
            <a:r>
              <a:rPr lang="ru-RU" sz="2800" b="1" dirty="0" smtClean="0">
                <a:latin typeface="Arial Narrow" pitchFamily="34" charset="0"/>
              </a:rPr>
              <a:t>.</a:t>
            </a:r>
            <a:r>
              <a:rPr lang="ru-RU" sz="2800" dirty="0" smtClean="0">
                <a:latin typeface="Arial Narrow" pitchFamily="34" charset="0"/>
              </a:rPr>
              <a:t> Требования о возврате суммы  превышения НДС, указанного в декларации по НДС за налоговый период</a:t>
            </a:r>
          </a:p>
          <a:p>
            <a:pPr marL="0" indent="266700" algn="just">
              <a:lnSpc>
                <a:spcPct val="120000"/>
              </a:lnSpc>
              <a:spcBef>
                <a:spcPct val="0"/>
              </a:spcBef>
              <a:buNone/>
            </a:pPr>
            <a:r>
              <a:rPr lang="ru-RU" sz="2800" dirty="0" smtClean="0">
                <a:latin typeface="Arial Narrow" pitchFamily="34" charset="0"/>
              </a:rPr>
              <a:t/>
            </a:r>
            <a:br>
              <a:rPr lang="ru-RU" sz="2800" dirty="0" smtClean="0">
                <a:latin typeface="Arial Narrow" pitchFamily="34" charset="0"/>
              </a:rPr>
            </a:br>
            <a:r>
              <a:rPr lang="en-US" sz="2800" b="1" dirty="0" smtClean="0">
                <a:latin typeface="Arial Narrow" pitchFamily="34" charset="0"/>
              </a:rPr>
              <a:t>II.</a:t>
            </a:r>
            <a:r>
              <a:rPr lang="en-US" sz="2800" dirty="0" smtClean="0">
                <a:latin typeface="Arial Narrow" pitchFamily="34" charset="0"/>
              </a:rPr>
              <a:t> </a:t>
            </a:r>
            <a:r>
              <a:rPr lang="ru-RU" sz="2800" dirty="0" smtClean="0">
                <a:latin typeface="Arial Narrow" pitchFamily="34" charset="0"/>
              </a:rPr>
              <a:t>Подтверждающих документов, предусмотренных</a:t>
            </a:r>
            <a:r>
              <a:rPr lang="en-US" sz="2800" dirty="0" smtClean="0">
                <a:latin typeface="Arial Narrow" pitchFamily="34" charset="0"/>
              </a:rPr>
              <a:t> </a:t>
            </a:r>
            <a:r>
              <a:rPr lang="ru-RU" sz="2800" dirty="0" smtClean="0">
                <a:latin typeface="Arial Narrow" pitchFamily="34" charset="0"/>
              </a:rPr>
              <a:t>Налоговым кодексом</a:t>
            </a:r>
          </a:p>
          <a:p>
            <a:pPr marL="0" indent="266700" algn="just">
              <a:lnSpc>
                <a:spcPct val="120000"/>
              </a:lnSpc>
              <a:spcBef>
                <a:spcPct val="0"/>
              </a:spcBef>
              <a:buNone/>
            </a:pPr>
            <a:r>
              <a:rPr lang="ru-RU" sz="2800" dirty="0" smtClean="0">
                <a:latin typeface="Arial Narrow" pitchFamily="34" charset="0"/>
              </a:rPr>
              <a:t/>
            </a:r>
            <a:br>
              <a:rPr lang="ru-RU" sz="2800" dirty="0" smtClean="0">
                <a:latin typeface="Arial Narrow" pitchFamily="34" charset="0"/>
              </a:rPr>
            </a:br>
            <a:r>
              <a:rPr lang="en-US" sz="2800" b="1" dirty="0" smtClean="0">
                <a:latin typeface="Arial Narrow" pitchFamily="34" charset="0"/>
              </a:rPr>
              <a:t>III</a:t>
            </a:r>
            <a:r>
              <a:rPr lang="ru-RU" sz="2800" b="1" dirty="0" smtClean="0">
                <a:latin typeface="Arial Narrow" pitchFamily="34" charset="0"/>
              </a:rPr>
              <a:t>.</a:t>
            </a:r>
            <a:r>
              <a:rPr lang="ru-RU" sz="2800" dirty="0" smtClean="0">
                <a:latin typeface="Arial Narrow" pitchFamily="34" charset="0"/>
              </a:rPr>
              <a:t> Акта налоговой проверки, подтверждающего достоверность суммы превышения НДС, предъявленной к возврату.</a:t>
            </a:r>
            <a:br>
              <a:rPr lang="ru-RU" sz="2800" dirty="0" smtClean="0">
                <a:latin typeface="Arial Narrow" pitchFamily="34" charset="0"/>
              </a:rPr>
            </a:br>
            <a:r>
              <a:rPr lang="en-US" sz="2800" dirty="0" smtClean="0">
                <a:latin typeface="Arial Narrow" pitchFamily="34" charset="0"/>
              </a:rPr>
              <a:t> </a:t>
            </a:r>
            <a:endParaRPr lang="ru-RU" sz="2800" dirty="0" smtClean="0">
              <a:latin typeface="Arial Narrow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-11134" y="2551"/>
            <a:ext cx="9155134" cy="922866"/>
          </a:xfrm>
          <a:prstGeom prst="rect">
            <a:avLst/>
          </a:prstGeom>
          <a:gradFill flip="none" rotWithShape="1">
            <a:gsLst>
              <a:gs pos="0">
                <a:srgbClr val="002060"/>
              </a:gs>
              <a:gs pos="100000">
                <a:srgbClr val="0036A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2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УСЛОВИЯ ВОЗМЕЩЕНИЯ НДС ИЗ БЮДЖЕТА </a:t>
            </a:r>
            <a:endParaRPr lang="ru-RU" sz="22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0475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7488" y="1571612"/>
            <a:ext cx="3036077" cy="44156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231354" y="1071546"/>
            <a:ext cx="869230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200" dirty="0" smtClean="0"/>
              <a:t>Требования о возврате,  указывается в очередной декларации по НДС за налоговый период</a:t>
            </a:r>
            <a:endParaRPr lang="ru-RU" sz="22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9</a:t>
            </a:fld>
            <a:endParaRPr lang="ru-RU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4719611"/>
            <a:ext cx="8208912" cy="17648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407625" y="4676497"/>
            <a:ext cx="8339769" cy="942106"/>
          </a:xfrm>
          <a:prstGeom prst="rect">
            <a:avLst/>
          </a:prstGeom>
          <a:noFill/>
          <a:ln w="635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0" y="0"/>
            <a:ext cx="9144000" cy="922866"/>
          </a:xfrm>
          <a:prstGeom prst="rect">
            <a:avLst/>
          </a:prstGeom>
          <a:gradFill flip="none" rotWithShape="1">
            <a:gsLst>
              <a:gs pos="0">
                <a:srgbClr val="002060"/>
              </a:gs>
              <a:gs pos="100000">
                <a:srgbClr val="0036A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2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ПОРЯДОК ПОДАЧИ ТРЕБОВАНИЯ О ВОЗВРАТЕ НДС</a:t>
            </a:r>
            <a:endParaRPr lang="ru-RU" sz="22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9679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2560</TotalTime>
  <Words>979</Words>
  <Application>Microsoft Office PowerPoint</Application>
  <PresentationFormat>Экран (4:3)</PresentationFormat>
  <Paragraphs>246</Paragraphs>
  <Slides>17</Slides>
  <Notes>5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19" baseType="lpstr">
      <vt:lpstr>Тема Office</vt:lpstr>
      <vt:lpstr>think-cell Slide</vt:lpstr>
      <vt:lpstr> КОНТРОЛЬНЫЙ СЧЕТ НДС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иложение 300.10 к декларации по НДС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SPecialiST RePack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лмат Кайракбеков</dc:creator>
  <cp:lastModifiedBy>Ахметова Кымбат Балташевна</cp:lastModifiedBy>
  <cp:revision>89</cp:revision>
  <cp:lastPrinted>2018-11-17T05:04:22Z</cp:lastPrinted>
  <dcterms:created xsi:type="dcterms:W3CDTF">2018-06-21T23:43:01Z</dcterms:created>
  <dcterms:modified xsi:type="dcterms:W3CDTF">2018-11-30T08:54:15Z</dcterms:modified>
</cp:coreProperties>
</file>